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2" r:id="rId2"/>
  </p:sldMasterIdLst>
  <p:notesMasterIdLst>
    <p:notesMasterId r:id="rId17"/>
  </p:notesMasterIdLst>
  <p:sldIdLst>
    <p:sldId id="307" r:id="rId3"/>
    <p:sldId id="309" r:id="rId4"/>
    <p:sldId id="319" r:id="rId5"/>
    <p:sldId id="322" r:id="rId6"/>
    <p:sldId id="323" r:id="rId7"/>
    <p:sldId id="324" r:id="rId8"/>
    <p:sldId id="302" r:id="rId9"/>
    <p:sldId id="305" r:id="rId10"/>
    <p:sldId id="304" r:id="rId11"/>
    <p:sldId id="316" r:id="rId12"/>
    <p:sldId id="312" r:id="rId13"/>
    <p:sldId id="313" r:id="rId14"/>
    <p:sldId id="315" r:id="rId15"/>
    <p:sldId id="325" r:id="rId1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B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593" autoAdjust="0"/>
    <p:restoredTop sz="94660" autoAdjust="0"/>
  </p:normalViewPr>
  <p:slideViewPr>
    <p:cSldViewPr snapToGrid="0" snapToObjects="1">
      <p:cViewPr>
        <p:scale>
          <a:sx n="80" d="100"/>
          <a:sy n="80" d="100"/>
        </p:scale>
        <p:origin x="-1032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866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56" d="100"/>
          <a:sy n="56" d="100"/>
        </p:scale>
        <p:origin x="-2874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16AEEF-49C7-42E0-BA3E-7838538F13ED}" type="datetimeFigureOut">
              <a:rPr lang="en-GB" smtClean="0"/>
              <a:t>20/11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BA7B57-1FC7-48FF-866B-5992EA3A151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32747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charset="0"/>
              </a:defRPr>
            </a:lvl1pPr>
            <a:lvl2pPr marL="735837" indent="-283014">
              <a:defRPr sz="2400">
                <a:solidFill>
                  <a:schemeClr val="tx1"/>
                </a:solidFill>
                <a:latin typeface="Times" charset="0"/>
              </a:defRPr>
            </a:lvl2pPr>
            <a:lvl3pPr marL="1132057" indent="-226411">
              <a:defRPr sz="2400">
                <a:solidFill>
                  <a:schemeClr val="tx1"/>
                </a:solidFill>
                <a:latin typeface="Times" charset="0"/>
              </a:defRPr>
            </a:lvl3pPr>
            <a:lvl4pPr marL="1584880" indent="-226411">
              <a:defRPr sz="2400">
                <a:solidFill>
                  <a:schemeClr val="tx1"/>
                </a:solidFill>
                <a:latin typeface="Times" charset="0"/>
              </a:defRPr>
            </a:lvl4pPr>
            <a:lvl5pPr marL="2037703" indent="-226411">
              <a:defRPr sz="2400">
                <a:solidFill>
                  <a:schemeClr val="tx1"/>
                </a:solidFill>
                <a:latin typeface="Times" charset="0"/>
              </a:defRPr>
            </a:lvl5pPr>
            <a:lvl6pPr marL="2490526" indent="-226411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6pPr>
            <a:lvl7pPr marL="2943349" indent="-226411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7pPr>
            <a:lvl8pPr marL="3396171" indent="-226411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8pPr>
            <a:lvl9pPr marL="3848994" indent="-226411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</a:defRPr>
            </a:lvl9pPr>
          </a:lstStyle>
          <a:p>
            <a:fld id="{6265CA7B-6434-4EFD-82DD-C7A235CD4D96}" type="slidenum">
              <a:rPr lang="en-US" sz="1200">
                <a:solidFill>
                  <a:srgbClr val="000000"/>
                </a:solidFill>
              </a:rPr>
              <a:pPr/>
              <a:t>1</a:t>
            </a:fld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7388"/>
            <a:ext cx="4572000" cy="3429000"/>
          </a:xfrm>
          <a:ln/>
        </p:spPr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FE407-3BC0-3D4C-8D56-014DD2883776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0766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984C8-8D6D-4F5B-A3C2-EB1BFC31BF37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6113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 userDrawn="1"/>
        </p:nvSpPr>
        <p:spPr bwMode="auto">
          <a:xfrm>
            <a:off x="0" y="6405056"/>
            <a:ext cx="9144000" cy="452944"/>
          </a:xfrm>
          <a:prstGeom prst="rect">
            <a:avLst/>
          </a:prstGeom>
          <a:solidFill>
            <a:srgbClr val="0033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198000" anchor="ctr"/>
          <a:lstStyle/>
          <a:p>
            <a:pPr algn="r"/>
            <a:endParaRPr lang="en-US" sz="1000" dirty="0"/>
          </a:p>
        </p:txBody>
      </p:sp>
      <p:pic>
        <p:nvPicPr>
          <p:cNvPr id="12" name="Picture 11" descr="Powered-By-DHL-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531014"/>
            <a:ext cx="723449" cy="1764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864010"/>
            <a:ext cx="7772400" cy="702468"/>
          </a:xfrm>
        </p:spPr>
        <p:txBody>
          <a:bodyPr>
            <a:normAutofit/>
          </a:bodyPr>
          <a:lstStyle>
            <a:lvl1pPr algn="l">
              <a:defRPr sz="3600" b="1" i="0">
                <a:solidFill>
                  <a:srgbClr val="005B9C"/>
                </a:solidFill>
                <a:latin typeface="Frutiger" panose="020B0500000000000000" pitchFamily="34" charset="0"/>
                <a:cs typeface="Arial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689898"/>
            <a:ext cx="7772400" cy="485022"/>
          </a:xfrm>
        </p:spPr>
        <p:txBody>
          <a:bodyPr>
            <a:normAutofit/>
          </a:bodyPr>
          <a:lstStyle>
            <a:lvl1pPr marL="0" indent="0" algn="l">
              <a:buNone/>
              <a:defRPr sz="2400" b="0" i="0">
                <a:solidFill>
                  <a:schemeClr val="tx2">
                    <a:lumMod val="40000"/>
                    <a:lumOff val="60000"/>
                  </a:schemeClr>
                </a:solidFill>
                <a:latin typeface="Frutiger" panose="020B0500000000000000" pitchFamily="34" charset="0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US" dirty="0"/>
          </a:p>
        </p:txBody>
      </p:sp>
      <p:pic>
        <p:nvPicPr>
          <p:cNvPr id="4" name="Picture 3" descr="New Strategic House with copy oct 2015 96 dpi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4097" y="3313922"/>
            <a:ext cx="4320000" cy="3544078"/>
          </a:xfrm>
          <a:prstGeom prst="rect">
            <a:avLst/>
          </a:prstGeom>
        </p:spPr>
      </p:pic>
      <p:pic>
        <p:nvPicPr>
          <p:cNvPr id="8" name="Picture 7" descr="A4 size NHS Supply Chain logo with exclusion zone RGB.jp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7353" y="44152"/>
            <a:ext cx="2376647" cy="12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2707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34396"/>
            <a:ext cx="8229600" cy="4546838"/>
          </a:xfr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7" name="Rectangle 19"/>
          <p:cNvSpPr>
            <a:spLocks noChangeArrowheads="1"/>
          </p:cNvSpPr>
          <p:nvPr userDrawn="1"/>
        </p:nvSpPr>
        <p:spPr bwMode="auto">
          <a:xfrm>
            <a:off x="0" y="6405056"/>
            <a:ext cx="9144000" cy="452944"/>
          </a:xfrm>
          <a:prstGeom prst="rect">
            <a:avLst/>
          </a:prstGeom>
          <a:solidFill>
            <a:srgbClr val="0033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198000" anchor="ctr"/>
          <a:lstStyle/>
          <a:p>
            <a:pPr algn="r"/>
            <a:endParaRPr lang="en-US" sz="1000" dirty="0"/>
          </a:p>
        </p:txBody>
      </p:sp>
      <p:sp>
        <p:nvSpPr>
          <p:cNvPr id="8" name="Rectangle 19"/>
          <p:cNvSpPr>
            <a:spLocks noChangeArrowheads="1"/>
          </p:cNvSpPr>
          <p:nvPr userDrawn="1"/>
        </p:nvSpPr>
        <p:spPr bwMode="auto">
          <a:xfrm>
            <a:off x="0" y="6477000"/>
            <a:ext cx="9144000" cy="381000"/>
          </a:xfrm>
          <a:prstGeom prst="rect">
            <a:avLst/>
          </a:prstGeom>
          <a:solidFill>
            <a:srgbClr val="0033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198000" anchor="ctr"/>
          <a:lstStyle/>
          <a:p>
            <a:pPr algn="l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</a:rPr>
              <a:t>	www.supplychain.nhs.uk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423043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 userDrawn="1"/>
        </p:nvSpPr>
        <p:spPr bwMode="auto">
          <a:xfrm>
            <a:off x="305028" y="1448028"/>
            <a:ext cx="8533946" cy="5104946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/>
        </p:spPr>
        <p:txBody>
          <a:bodyPr wrap="none" lIns="91264" tIns="45640" rIns="91264" bIns="45640" anchor="ctr"/>
          <a:lstStyle/>
          <a:p>
            <a:pPr algn="ctr" eaLnBrk="0" hangingPunct="0">
              <a:defRPr/>
            </a:pPr>
            <a:endParaRPr lang="en-GB" dirty="0">
              <a:solidFill>
                <a:srgbClr val="000000"/>
              </a:solidFill>
              <a:latin typeface="Times" charset="0"/>
            </a:endParaRPr>
          </a:p>
        </p:txBody>
      </p:sp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305028" y="6171974"/>
            <a:ext cx="8533946" cy="381000"/>
          </a:xfrm>
          <a:prstGeom prst="rect">
            <a:avLst/>
          </a:prstGeom>
          <a:solidFill>
            <a:srgbClr val="003366"/>
          </a:solidFill>
          <a:ln>
            <a:noFill/>
          </a:ln>
          <a:effectLst/>
          <a:extLst/>
        </p:spPr>
        <p:txBody>
          <a:bodyPr wrap="none" lIns="91264" tIns="45640" rIns="197619" bIns="45640" anchor="ctr"/>
          <a:lstStyle/>
          <a:p>
            <a:pPr algn="r" eaLnBrk="0" hangingPunct="0">
              <a:defRPr/>
            </a:pPr>
            <a:r>
              <a:rPr lang="en-US" sz="1000" dirty="0">
                <a:solidFill>
                  <a:srgbClr val="FFFFFF"/>
                </a:solidFill>
                <a:latin typeface="Arial" pitchFamily="34" charset="0"/>
              </a:rPr>
              <a:t>www.supplychain.nhs.uk</a:t>
            </a:r>
            <a:endParaRPr lang="en-US" sz="1000" dirty="0">
              <a:solidFill>
                <a:srgbClr val="000000"/>
              </a:solidFill>
              <a:latin typeface="Times" charset="0"/>
            </a:endParaRPr>
          </a:p>
        </p:txBody>
      </p:sp>
      <p:pic>
        <p:nvPicPr>
          <p:cNvPr id="5" name="Picture 4" descr="A4 size NHS Supply Chain logo with exclusion zone RGB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7353" y="44152"/>
            <a:ext cx="2376647" cy="12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640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9"/>
          <p:cNvSpPr>
            <a:spLocks noChangeArrowheads="1"/>
          </p:cNvSpPr>
          <p:nvPr userDrawn="1"/>
        </p:nvSpPr>
        <p:spPr bwMode="auto">
          <a:xfrm>
            <a:off x="0" y="6405056"/>
            <a:ext cx="9144000" cy="452944"/>
          </a:xfrm>
          <a:prstGeom prst="rect">
            <a:avLst/>
          </a:prstGeom>
          <a:solidFill>
            <a:srgbClr val="0033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198000" anchor="ctr"/>
          <a:lstStyle/>
          <a:p>
            <a:pPr algn="r"/>
            <a:endParaRPr lang="en-US" sz="1000" dirty="0">
              <a:solidFill>
                <a:prstClr val="black"/>
              </a:solidFill>
            </a:endParaRPr>
          </a:p>
        </p:txBody>
      </p:sp>
      <p:pic>
        <p:nvPicPr>
          <p:cNvPr id="12" name="Picture 11" descr="Powered-By-DHL-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531014"/>
            <a:ext cx="723449" cy="176451"/>
          </a:xfrm>
          <a:prstGeom prst="rect">
            <a:avLst/>
          </a:prstGeom>
        </p:spPr>
      </p:pic>
      <p:pic>
        <p:nvPicPr>
          <p:cNvPr id="4" name="Picture 3" descr="New Strategic House with copy oct 2015 96 dpi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6743" y="3764478"/>
            <a:ext cx="3587308" cy="2942987"/>
          </a:xfrm>
          <a:prstGeom prst="rect">
            <a:avLst/>
          </a:prstGeom>
        </p:spPr>
      </p:pic>
      <p:pic>
        <p:nvPicPr>
          <p:cNvPr id="8" name="Picture 7" descr="A4 size NHS Supply Chain logo with exclusion zone RGB.jp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7353" y="44152"/>
            <a:ext cx="2376647" cy="12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2811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34396"/>
            <a:ext cx="8229600" cy="4546838"/>
          </a:xfr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7" name="Rectangle 19"/>
          <p:cNvSpPr>
            <a:spLocks noChangeArrowheads="1"/>
          </p:cNvSpPr>
          <p:nvPr userDrawn="1"/>
        </p:nvSpPr>
        <p:spPr bwMode="auto">
          <a:xfrm>
            <a:off x="0" y="6405056"/>
            <a:ext cx="9144000" cy="452944"/>
          </a:xfrm>
          <a:prstGeom prst="rect">
            <a:avLst/>
          </a:prstGeom>
          <a:solidFill>
            <a:srgbClr val="0033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198000" anchor="ctr"/>
          <a:lstStyle/>
          <a:p>
            <a:pPr algn="r"/>
            <a:endParaRPr lang="en-US" sz="1000" dirty="0">
              <a:solidFill>
                <a:prstClr val="black"/>
              </a:solidFill>
            </a:endParaRPr>
          </a:p>
        </p:txBody>
      </p:sp>
      <p:pic>
        <p:nvPicPr>
          <p:cNvPr id="6" name="Picture 5" descr="Powered-By-DHL-Whit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531014"/>
            <a:ext cx="723449" cy="176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623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C1C624-9A7D-4E5E-A450-606AF71632FC}" type="datetimeFigureOut">
              <a:rPr lang="en-GB">
                <a:solidFill>
                  <a:prstClr val="black"/>
                </a:solidFill>
              </a:rPr>
              <a:pPr>
                <a:defRPr/>
              </a:pPr>
              <a:t>20/11/201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0D9271-0C74-4C45-8509-A3EED20C2EFE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8451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8663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.jpe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72324"/>
            <a:ext cx="6799463" cy="666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34396"/>
            <a:ext cx="8229600" cy="48917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pic>
        <p:nvPicPr>
          <p:cNvPr id="6" name="Picture 5" descr="A4 size NHS Supply Chain logo with exclusion zone RGB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6663" y="0"/>
            <a:ext cx="1887337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105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spcBef>
          <a:spcPct val="0"/>
        </a:spcBef>
        <a:buNone/>
        <a:defRPr sz="2800" b="1" i="0" kern="1200">
          <a:solidFill>
            <a:srgbClr val="005B9C"/>
          </a:solidFill>
          <a:latin typeface="Frutiger" panose="020B0500000000000000" pitchFamily="34" charset="0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b="0" i="0" kern="1200">
          <a:solidFill>
            <a:schemeClr val="tx1"/>
          </a:solidFill>
          <a:latin typeface="Frutiger" panose="020B0500000000000000" pitchFamily="34" charset="0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b="0" i="0" kern="1200">
          <a:solidFill>
            <a:schemeClr val="tx1"/>
          </a:solidFill>
          <a:latin typeface="Frutiger" panose="020B0500000000000000" pitchFamily="34" charset="0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chemeClr val="tx1"/>
          </a:solidFill>
          <a:latin typeface="Frutiger" panose="020B0500000000000000" pitchFamily="34" charset="0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Frutiger" panose="020B0500000000000000" pitchFamily="34" charset="0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chemeClr val="tx1"/>
          </a:solidFill>
          <a:latin typeface="Frutiger" panose="020B0500000000000000" pitchFamily="34" charset="0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72324"/>
            <a:ext cx="6799463" cy="666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34396"/>
            <a:ext cx="8229600" cy="48917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pic>
        <p:nvPicPr>
          <p:cNvPr id="6" name="Picture 5" descr="A4 size NHS Supply Chain logo with exclusion zone RGB.jp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6663" y="0"/>
            <a:ext cx="1887337" cy="972000"/>
          </a:xfrm>
          <a:prstGeom prst="rect">
            <a:avLst/>
          </a:prstGeom>
        </p:spPr>
      </p:pic>
      <p:sp>
        <p:nvSpPr>
          <p:cNvPr id="5" name="Rectangle 19"/>
          <p:cNvSpPr>
            <a:spLocks noChangeArrowheads="1"/>
          </p:cNvSpPr>
          <p:nvPr/>
        </p:nvSpPr>
        <p:spPr bwMode="auto">
          <a:xfrm>
            <a:off x="0" y="6405056"/>
            <a:ext cx="9144000" cy="452944"/>
          </a:xfrm>
          <a:prstGeom prst="rect">
            <a:avLst/>
          </a:prstGeom>
          <a:solidFill>
            <a:srgbClr val="0033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198000" anchor="ctr"/>
          <a:lstStyle/>
          <a:p>
            <a:pPr algn="r"/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189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spcBef>
          <a:spcPct val="0"/>
        </a:spcBef>
        <a:buNone/>
        <a:defRPr sz="2800" b="1" i="0" kern="1200">
          <a:solidFill>
            <a:srgbClr val="005B9C"/>
          </a:solidFill>
          <a:latin typeface="Frutiger" panose="020B0500000000000000" pitchFamily="34" charset="0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b="0" i="0" kern="1200">
          <a:solidFill>
            <a:schemeClr val="tx1"/>
          </a:solidFill>
          <a:latin typeface="Frutiger" panose="020B0500000000000000" pitchFamily="34" charset="0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b="0" i="0" kern="1200">
          <a:solidFill>
            <a:schemeClr val="tx1"/>
          </a:solidFill>
          <a:latin typeface="Frutiger" panose="020B0500000000000000" pitchFamily="34" charset="0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chemeClr val="tx1"/>
          </a:solidFill>
          <a:latin typeface="Frutiger" panose="020B0500000000000000" pitchFamily="34" charset="0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Frutiger" panose="020B0500000000000000" pitchFamily="34" charset="0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chemeClr val="tx1"/>
          </a:solidFill>
          <a:latin typeface="Frutiger" panose="020B0500000000000000" pitchFamily="34" charset="0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8.png"/><Relationship Id="rId7" Type="http://schemas.openxmlformats.org/officeDocument/2006/relationships/image" Target="../media/image20.jpeg"/><Relationship Id="rId2" Type="http://schemas.openxmlformats.org/officeDocument/2006/relationships/hyperlink" Target="http://www.google.co.uk/url?sa=i&amp;rct=j&amp;q=&amp;esrc=s&amp;source=images&amp;cd=&amp;cad=rja&amp;uact=8&amp;ved=0ahUKEwj6zefc6LjWAhVM6RQKHa3CDcEQjRwIBw&amp;url=http://cargoagent.net/company%20profile/Other/Macedonia/Skopje/DHL_FREIGHT_MACEDONIA_DOO(i_230510123).html&amp;psig=AFQjCNEIsCzgv_ktSxqKZlaEtDr9gQPySg&amp;ust=1506170551527793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www.google.co.uk/url?sa=i&amp;rct=j&amp;q=&amp;esrc=s&amp;source=images&amp;cd=&amp;cad=rja&amp;uact=8&amp;ved=0ahUKEwi38PKm67jWAhUBORoKHfBoD20QjRwIBw&amp;url=http://www.gapcontainers.co.uk/shipping-containers-for-sale-uk/&amp;psig=AFQjCNEWFeYrNsGz8zYbz6GETzeHTSt03g&amp;ust=1506171221394481" TargetMode="External"/><Relationship Id="rId5" Type="http://schemas.openxmlformats.org/officeDocument/2006/relationships/image" Target="../media/image19.png"/><Relationship Id="rId10" Type="http://schemas.openxmlformats.org/officeDocument/2006/relationships/image" Target="../media/image22.jpeg"/><Relationship Id="rId4" Type="http://schemas.openxmlformats.org/officeDocument/2006/relationships/hyperlink" Target="http://www.google.co.uk/url?sa=i&amp;rct=j&amp;q=&amp;esrc=s&amp;source=images&amp;cd=&amp;cad=rja&amp;uact=8&amp;ved=0ahUKEwiV9db_6LjWAhVLOBQKHQ1dBloQjRwIBw&amp;url=http://www.dhl-mo.com/&amp;psig=AFQjCNEQSmFxrGnlrjhQCLNbc9tDf1hIrg&amp;ust=1506170622060404" TargetMode="External"/><Relationship Id="rId9" Type="http://schemas.openxmlformats.org/officeDocument/2006/relationships/hyperlink" Target="http://www.google.co.uk/url?sa=i&amp;rct=j&amp;q=&amp;esrc=s&amp;source=images&amp;cd=&amp;cad=rja&amp;uact=8&amp;ved=0ahUKEwiZwpr07LjWAhXGXBoKHYSFCVMQjRwIBw&amp;url=http://www.shutterstock.com/video/clip-6857593-stock-footage-delivery-driver-unloading-his-van-in-a-large-warehouse.html&amp;psig=AFQjCNFNFJEnePQ9SchcqaJcz4PHD6rTYg&amp;ust=1506171587129053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idx="4294967295"/>
          </p:nvPr>
        </p:nvSpPr>
        <p:spPr bwMode="auto">
          <a:xfrm>
            <a:off x="685800" y="1828800"/>
            <a:ext cx="7630616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3" tIns="45635" rIns="91253" bIns="45635">
            <a:normAutofit fontScale="90000"/>
          </a:bodyPr>
          <a:lstStyle/>
          <a:p>
            <a:r>
              <a:rPr lang="en-GB" sz="3600" dirty="0">
                <a:solidFill>
                  <a:schemeClr val="bg1"/>
                </a:solidFill>
                <a:latin typeface="Arial" pitchFamily="34" charset="0"/>
              </a:rPr>
              <a:t>Transport of goods, carbon efficiency and logistics</a:t>
            </a:r>
            <a:endParaRPr lang="en-US" sz="3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4294967295"/>
          </p:nvPr>
        </p:nvSpPr>
        <p:spPr bwMode="auto">
          <a:xfrm>
            <a:off x="696297" y="2914657"/>
            <a:ext cx="6902598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3" tIns="45635" rIns="91253" bIns="45635"/>
          <a:lstStyle/>
          <a:p>
            <a:pPr marL="0" indent="0">
              <a:lnSpc>
                <a:spcPct val="90000"/>
              </a:lnSpc>
              <a:buNone/>
            </a:pPr>
            <a:r>
              <a:rPr lang="en-US" sz="3000" dirty="0" smtClean="0">
                <a:solidFill>
                  <a:srgbClr val="66A3CC"/>
                </a:solidFill>
                <a:latin typeface="Arial" pitchFamily="34" charset="0"/>
              </a:rPr>
              <a:t>22</a:t>
            </a:r>
            <a:r>
              <a:rPr lang="en-US" sz="3000" baseline="30000" dirty="0" smtClean="0">
                <a:solidFill>
                  <a:srgbClr val="66A3CC"/>
                </a:solidFill>
                <a:latin typeface="Arial" pitchFamily="34" charset="0"/>
              </a:rPr>
              <a:t>nd</a:t>
            </a:r>
            <a:r>
              <a:rPr lang="en-US" sz="3000" dirty="0" smtClean="0">
                <a:solidFill>
                  <a:srgbClr val="66A3CC"/>
                </a:solidFill>
                <a:latin typeface="Arial" pitchFamily="34" charset="0"/>
              </a:rPr>
              <a:t> November 2017</a:t>
            </a:r>
            <a:endParaRPr lang="en-US" sz="3000" dirty="0">
              <a:solidFill>
                <a:srgbClr val="66A3CC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5997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Text Box 4"/>
          <p:cNvSpPr txBox="1">
            <a:spLocks noChangeArrowheads="1"/>
          </p:cNvSpPr>
          <p:nvPr/>
        </p:nvSpPr>
        <p:spPr bwMode="auto">
          <a:xfrm>
            <a:off x="539750" y="939171"/>
            <a:ext cx="7775575" cy="4038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>
            <a:spAutoFit/>
          </a:bodyPr>
          <a:lstStyle>
            <a:lvl1pPr marL="171450" indent="-171450" eaLnBrk="0" hangingPunct="0">
              <a:defRPr sz="2400">
                <a:solidFill>
                  <a:schemeClr val="tx1"/>
                </a:solidFill>
                <a:latin typeface="Times" pitchFamily="18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" pitchFamily="18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" pitchFamily="18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" pitchFamily="18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cs typeface="Arial" charset="0"/>
              </a:defRPr>
            </a:lvl9pPr>
          </a:lstStyle>
          <a:p>
            <a:pPr marL="0" indent="0" eaLnBrk="1" hangingPunct="1">
              <a:lnSpc>
                <a:spcPct val="130000"/>
              </a:lnSpc>
              <a:buClr>
                <a:srgbClr val="343E5B"/>
              </a:buClr>
              <a:buSzPct val="70000"/>
            </a:pPr>
            <a:r>
              <a:rPr lang="en-GB" altLang="en-US" sz="1600" dirty="0">
                <a:solidFill>
                  <a:srgbClr val="606060"/>
                </a:solidFill>
                <a:latin typeface="Arial" charset="0"/>
                <a:ea typeface="ＭＳ Ｐゴシック" pitchFamily="34" charset="-128"/>
              </a:rPr>
              <a:t> </a:t>
            </a:r>
            <a:r>
              <a:rPr lang="en-GB" altLang="en-US" sz="1800" dirty="0">
                <a:solidFill>
                  <a:srgbClr val="606060"/>
                </a:solidFill>
                <a:latin typeface="Frutiger" panose="020B0500000000000000" pitchFamily="34" charset="0"/>
                <a:ea typeface="ＭＳ Ｐゴシック" pitchFamily="34" charset="-128"/>
              </a:rPr>
              <a:t>A supplier collection service, dealing only with NHS Supply Chain inbound volume</a:t>
            </a:r>
          </a:p>
          <a:p>
            <a:pPr marL="0" indent="0" eaLnBrk="1" hangingPunct="1">
              <a:lnSpc>
                <a:spcPct val="130000"/>
              </a:lnSpc>
              <a:buClr>
                <a:srgbClr val="343E5B"/>
              </a:buClr>
              <a:buSzPct val="70000"/>
            </a:pPr>
            <a:endParaRPr lang="en-GB" altLang="en-US" sz="1600" dirty="0">
              <a:solidFill>
                <a:srgbClr val="606060"/>
              </a:solidFill>
              <a:latin typeface="Frutiger" panose="020B0500000000000000" pitchFamily="34" charset="0"/>
              <a:ea typeface="ＭＳ Ｐゴシック" pitchFamily="34" charset="-128"/>
            </a:endParaRPr>
          </a:p>
          <a:p>
            <a:pPr marL="0" indent="0" eaLnBrk="1" hangingPunct="1">
              <a:lnSpc>
                <a:spcPct val="130000"/>
              </a:lnSpc>
              <a:buClr>
                <a:srgbClr val="343E5B"/>
              </a:buClr>
              <a:buSzPct val="70000"/>
            </a:pPr>
            <a:r>
              <a:rPr lang="en-GB" altLang="en-US" sz="1800" dirty="0">
                <a:solidFill>
                  <a:srgbClr val="606060"/>
                </a:solidFill>
                <a:latin typeface="Frutiger" panose="020B0500000000000000" pitchFamily="34" charset="0"/>
                <a:ea typeface="ＭＳ Ｐゴシック" pitchFamily="34" charset="-128"/>
              </a:rPr>
              <a:t> Run by NHS Supply Chain for Suppliers to NHS Supply </a:t>
            </a:r>
            <a:r>
              <a:rPr lang="en-GB" altLang="en-US" sz="1800" dirty="0" smtClean="0">
                <a:solidFill>
                  <a:srgbClr val="606060"/>
                </a:solidFill>
                <a:latin typeface="Frutiger" panose="020B0500000000000000" pitchFamily="34" charset="0"/>
                <a:ea typeface="ＭＳ Ｐゴシック" pitchFamily="34" charset="-128"/>
              </a:rPr>
              <a:t>Chain</a:t>
            </a:r>
            <a:endParaRPr lang="en-GB" altLang="en-US" sz="1800" dirty="0">
              <a:solidFill>
                <a:srgbClr val="606060"/>
              </a:solidFill>
              <a:latin typeface="Frutiger" panose="020B0500000000000000" pitchFamily="34" charset="0"/>
              <a:ea typeface="ＭＳ Ｐゴシック" pitchFamily="34" charset="-128"/>
            </a:endParaRPr>
          </a:p>
          <a:p>
            <a:pPr marL="0" indent="0" eaLnBrk="1" hangingPunct="1">
              <a:lnSpc>
                <a:spcPct val="130000"/>
              </a:lnSpc>
              <a:buClr>
                <a:srgbClr val="343E5B"/>
              </a:buClr>
              <a:buSzPct val="70000"/>
            </a:pPr>
            <a:endParaRPr lang="en-GB" altLang="en-US" sz="1050" dirty="0">
              <a:solidFill>
                <a:srgbClr val="606060"/>
              </a:solidFill>
              <a:latin typeface="Frutiger" panose="020B0500000000000000" pitchFamily="34" charset="0"/>
              <a:ea typeface="ＭＳ Ｐゴシック" pitchFamily="34" charset="-128"/>
            </a:endParaRPr>
          </a:p>
          <a:p>
            <a:pPr marL="0" indent="0" eaLnBrk="1" hangingPunct="1">
              <a:lnSpc>
                <a:spcPct val="130000"/>
              </a:lnSpc>
              <a:buClr>
                <a:srgbClr val="343E5B"/>
              </a:buClr>
              <a:buSzPct val="70000"/>
            </a:pPr>
            <a:r>
              <a:rPr lang="en-GB" altLang="en-US" sz="1800" dirty="0">
                <a:solidFill>
                  <a:srgbClr val="606060"/>
                </a:solidFill>
                <a:latin typeface="Frutiger" panose="020B0500000000000000" pitchFamily="34" charset="0"/>
                <a:ea typeface="ＭＳ Ｐゴシック" pitchFamily="34" charset="-128"/>
              </a:rPr>
              <a:t> </a:t>
            </a:r>
            <a:r>
              <a:rPr lang="en-GB" altLang="en-US" sz="1800" dirty="0" smtClean="0">
                <a:solidFill>
                  <a:srgbClr val="606060"/>
                </a:solidFill>
                <a:latin typeface="Frutiger" panose="020B0500000000000000" pitchFamily="34" charset="0"/>
                <a:ea typeface="ＭＳ Ｐゴシック" pitchFamily="34" charset="-128"/>
              </a:rPr>
              <a:t>Why?</a:t>
            </a:r>
            <a:endParaRPr lang="en-GB" altLang="en-US" sz="1800" dirty="0">
              <a:solidFill>
                <a:srgbClr val="606060"/>
              </a:solidFill>
              <a:latin typeface="Frutiger" panose="020B0500000000000000" pitchFamily="34" charset="0"/>
              <a:ea typeface="ＭＳ Ｐゴシック" pitchFamily="34" charset="-128"/>
            </a:endParaRPr>
          </a:p>
          <a:p>
            <a:pPr marL="0" indent="0" eaLnBrk="1" hangingPunct="1">
              <a:lnSpc>
                <a:spcPct val="130000"/>
              </a:lnSpc>
              <a:buClr>
                <a:srgbClr val="343E5B"/>
              </a:buClr>
              <a:buSzPct val="70000"/>
            </a:pPr>
            <a:endParaRPr lang="en-GB" altLang="en-US" sz="1200" dirty="0">
              <a:solidFill>
                <a:srgbClr val="606060"/>
              </a:solidFill>
              <a:latin typeface="Frutiger" panose="020B0500000000000000" pitchFamily="34" charset="0"/>
              <a:ea typeface="ＭＳ Ｐゴシック" pitchFamily="34" charset="-128"/>
            </a:endParaRPr>
          </a:p>
          <a:p>
            <a:pPr marL="457200" lvl="1" indent="0"/>
            <a:r>
              <a:rPr lang="en-GB" altLang="en-US" sz="1800" dirty="0">
                <a:solidFill>
                  <a:srgbClr val="606060"/>
                </a:solidFill>
                <a:latin typeface="Frutiger" panose="020B0500000000000000" pitchFamily="34" charset="0"/>
              </a:rPr>
              <a:t>A realisation of the potential to use the NHS outbound delivery fleet </a:t>
            </a:r>
          </a:p>
          <a:p>
            <a:pPr marL="457200" lvl="1" indent="0"/>
            <a:r>
              <a:rPr lang="en-GB" altLang="en-US" sz="1800" dirty="0">
                <a:solidFill>
                  <a:srgbClr val="606060"/>
                </a:solidFill>
                <a:latin typeface="Frutiger" panose="020B0500000000000000" pitchFamily="34" charset="0"/>
              </a:rPr>
              <a:t>To generate benefit to NHS Supply Chain.</a:t>
            </a:r>
          </a:p>
          <a:p>
            <a:pPr marL="457200" lvl="1" indent="0"/>
            <a:r>
              <a:rPr lang="en-GB" altLang="en-US" sz="1800" dirty="0">
                <a:solidFill>
                  <a:srgbClr val="606060"/>
                </a:solidFill>
                <a:latin typeface="Frutiger" panose="020B0500000000000000" pitchFamily="34" charset="0"/>
              </a:rPr>
              <a:t>To provide a mutually beneficial route to market for suppliers</a:t>
            </a:r>
          </a:p>
          <a:p>
            <a:pPr marL="457200" lvl="1" indent="0"/>
            <a:endParaRPr lang="en-GB" altLang="en-US" sz="1200" dirty="0">
              <a:solidFill>
                <a:srgbClr val="606060"/>
              </a:solidFill>
              <a:latin typeface="Frutiger" panose="020B0500000000000000" pitchFamily="34" charset="0"/>
            </a:endParaRPr>
          </a:p>
          <a:p>
            <a:pPr marL="0" indent="0" eaLnBrk="1" hangingPunct="1">
              <a:lnSpc>
                <a:spcPct val="130000"/>
              </a:lnSpc>
              <a:buClr>
                <a:srgbClr val="343E5B"/>
              </a:buClr>
              <a:buSzPct val="70000"/>
            </a:pPr>
            <a:r>
              <a:rPr lang="en-GB" altLang="en-US" sz="1800" dirty="0">
                <a:solidFill>
                  <a:srgbClr val="606060"/>
                </a:solidFill>
                <a:latin typeface="Frutiger" panose="020B0500000000000000" pitchFamily="34" charset="0"/>
                <a:ea typeface="ＭＳ Ｐゴシック" pitchFamily="34" charset="-128"/>
              </a:rPr>
              <a:t> Driven through DHL’s commitment </a:t>
            </a:r>
            <a:r>
              <a:rPr lang="en-GB" altLang="en-US" sz="1800" dirty="0" smtClean="0">
                <a:solidFill>
                  <a:srgbClr val="606060"/>
                </a:solidFill>
                <a:latin typeface="Frutiger" panose="020B0500000000000000" pitchFamily="34" charset="0"/>
                <a:ea typeface="ＭＳ Ｐゴシック" pitchFamily="34" charset="-128"/>
              </a:rPr>
              <a:t>to reduce operating costs to the NHS, generate cash releasing savings and part of DHL’s mission 2050</a:t>
            </a:r>
            <a:endParaRPr lang="en-GB" altLang="en-US" sz="1800" dirty="0">
              <a:solidFill>
                <a:srgbClr val="606060"/>
              </a:solidFill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5124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51" b="26414"/>
          <a:stretch>
            <a:fillRect/>
          </a:stretch>
        </p:blipFill>
        <p:spPr bwMode="auto">
          <a:xfrm>
            <a:off x="4816475" y="4792663"/>
            <a:ext cx="4076700" cy="183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424830" y="260648"/>
            <a:ext cx="6834022" cy="666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1" i="0" kern="1200">
                <a:solidFill>
                  <a:srgbClr val="005B9C"/>
                </a:solidFill>
                <a:latin typeface="Frutiger" panose="020B0500000000000000" pitchFamily="34" charset="0"/>
                <a:ea typeface="+mj-ea"/>
                <a:cs typeface="Arial"/>
              </a:defRPr>
            </a:lvl1pPr>
          </a:lstStyle>
          <a:p>
            <a:r>
              <a:rPr lang="en-GB" sz="2400" dirty="0" smtClean="0"/>
              <a:t>What is Inbound Logistics?</a:t>
            </a:r>
            <a:endParaRPr lang="en-GB" sz="2400" dirty="0"/>
          </a:p>
        </p:txBody>
      </p:sp>
      <p:pic>
        <p:nvPicPr>
          <p:cNvPr id="6" name="Picture 5" descr="C:\Users\cavxlze0001\Pictures\GoGreen Logo\Ohne Subline\DPDHL_Group_GG_rgb_BG_72dpi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68" y="5474419"/>
            <a:ext cx="1256033" cy="473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124077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Oval 207"/>
          <p:cNvSpPr>
            <a:spLocks noChangeArrowheads="1"/>
          </p:cNvSpPr>
          <p:nvPr/>
        </p:nvSpPr>
        <p:spPr bwMode="auto">
          <a:xfrm>
            <a:off x="6020488" y="4466008"/>
            <a:ext cx="140362" cy="132900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</p:spPr>
        <p:txBody>
          <a:bodyPr wrap="none" lIns="90000" tIns="46800" rIns="90000" bIns="46800" anchor="ctr"/>
          <a:lstStyle>
            <a:lvl1pPr eaLnBrk="0" hangingPunct="0">
              <a:spcBef>
                <a:spcPct val="30000"/>
              </a:spcBef>
              <a:buClr>
                <a:schemeClr val="bg2"/>
              </a:buClr>
              <a:buSzPct val="130000"/>
              <a:buFont typeface="Arial" charset="0"/>
              <a:buChar char="●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bg2"/>
              </a:buClr>
              <a:buSzPct val="130000"/>
              <a:buFont typeface="Arial" charset="0"/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bg2"/>
              </a:buClr>
              <a:buSzPct val="130000"/>
              <a:buFont typeface="Arial" charset="0"/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bg2"/>
              </a:buClr>
              <a:buSzPct val="130000"/>
              <a:buFont typeface="Arial" charset="0"/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bg2"/>
              </a:buClr>
              <a:buSzPct val="130000"/>
              <a:buFont typeface="Arial" charset="0"/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SzPct val="130000"/>
              <a:buFont typeface="Arial" charset="0"/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SzPct val="130000"/>
              <a:buFont typeface="Arial" charset="0"/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SzPct val="130000"/>
              <a:buFont typeface="Arial" charset="0"/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SzPct val="130000"/>
              <a:buFont typeface="Arial" charset="0"/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3" name="AutoShape 2" descr="Image result for NHSSC vehicle fleet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AutoShape 4" descr="Image result for NHSSC vehicle fleet"/>
          <p:cNvSpPr>
            <a:spLocks noChangeAspect="1" noChangeArrowheads="1"/>
          </p:cNvSpPr>
          <p:nvPr/>
        </p:nvSpPr>
        <p:spPr bwMode="auto">
          <a:xfrm>
            <a:off x="152400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AutoShape 20" descr="Image result for DHL Healthcare Trailer"/>
          <p:cNvSpPr>
            <a:spLocks noChangeAspect="1" noChangeArrowheads="1"/>
          </p:cNvSpPr>
          <p:nvPr/>
        </p:nvSpPr>
        <p:spPr bwMode="auto">
          <a:xfrm>
            <a:off x="304800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" name="AutoShape 2" descr="Image result for DHL Freight">
            <a:hlinkClick r:id="rId2"/>
          </p:cNvPr>
          <p:cNvSpPr>
            <a:spLocks noChangeAspect="1" noChangeArrowheads="1"/>
          </p:cNvSpPr>
          <p:nvPr/>
        </p:nvSpPr>
        <p:spPr bwMode="auto">
          <a:xfrm>
            <a:off x="1626062" y="7937"/>
            <a:ext cx="6286500" cy="2247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598830" y="1057102"/>
            <a:ext cx="8006136" cy="5055985"/>
            <a:chOff x="598830" y="1057102"/>
            <a:chExt cx="8006136" cy="5055985"/>
          </a:xfrm>
        </p:grpSpPr>
        <p:grpSp>
          <p:nvGrpSpPr>
            <p:cNvPr id="7" name="Group 6"/>
            <p:cNvGrpSpPr/>
            <p:nvPr/>
          </p:nvGrpSpPr>
          <p:grpSpPr>
            <a:xfrm>
              <a:off x="598830" y="1057102"/>
              <a:ext cx="8006136" cy="5055985"/>
              <a:chOff x="598830" y="1057102"/>
              <a:chExt cx="8006136" cy="5055985"/>
            </a:xfrm>
          </p:grpSpPr>
          <p:pic>
            <p:nvPicPr>
              <p:cNvPr id="1032" name="Picture 8"/>
              <p:cNvPicPr>
                <a:picLocks noChangeAspect="1" noChangeArrowheads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9277" y="1508175"/>
                <a:ext cx="2020156" cy="10532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27" name="Group 26"/>
              <p:cNvGrpSpPr/>
              <p:nvPr/>
            </p:nvGrpSpPr>
            <p:grpSpPr>
              <a:xfrm>
                <a:off x="604302" y="2588227"/>
                <a:ext cx="2025132" cy="285608"/>
                <a:chOff x="4018" y="628303"/>
                <a:chExt cx="1943278" cy="837738"/>
              </a:xfrm>
            </p:grpSpPr>
            <p:sp>
              <p:nvSpPr>
                <p:cNvPr id="28" name="Rounded Rectangle 27"/>
                <p:cNvSpPr/>
                <p:nvPr/>
              </p:nvSpPr>
              <p:spPr>
                <a:xfrm>
                  <a:off x="4018" y="628303"/>
                  <a:ext cx="1943278" cy="837738"/>
                </a:xfrm>
                <a:prstGeom prst="roundRect">
                  <a:avLst/>
                </a:pr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29" name="Rounded Rectangle 4"/>
                <p:cNvSpPr/>
                <p:nvPr/>
              </p:nvSpPr>
              <p:spPr>
                <a:xfrm>
                  <a:off x="44913" y="669198"/>
                  <a:ext cx="1861488" cy="755948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68580" tIns="68580" rIns="68580" bIns="68580" numCol="1" spcCol="1270" anchor="ctr" anchorCtr="0">
                  <a:noAutofit/>
                </a:bodyPr>
                <a:lstStyle/>
                <a:p>
                  <a:pPr algn="ctr" defTabSz="8001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GB" sz="1200" b="1" dirty="0" smtClean="0">
                      <a:solidFill>
                        <a:prstClr val="white"/>
                      </a:solidFill>
                    </a:rPr>
                    <a:t>NHS SC Network</a:t>
                  </a:r>
                </a:p>
              </p:txBody>
            </p:sp>
          </p:grpSp>
          <p:grpSp>
            <p:nvGrpSpPr>
              <p:cNvPr id="32" name="Group 31"/>
              <p:cNvGrpSpPr/>
              <p:nvPr/>
            </p:nvGrpSpPr>
            <p:grpSpPr>
              <a:xfrm>
                <a:off x="598830" y="4260213"/>
                <a:ext cx="2025132" cy="285608"/>
                <a:chOff x="4018" y="628303"/>
                <a:chExt cx="1943278" cy="837738"/>
              </a:xfrm>
              <a:solidFill>
                <a:srgbClr val="FFC000"/>
              </a:solidFill>
            </p:grpSpPr>
            <p:sp>
              <p:nvSpPr>
                <p:cNvPr id="33" name="Rounded Rectangle 32"/>
                <p:cNvSpPr/>
                <p:nvPr/>
              </p:nvSpPr>
              <p:spPr>
                <a:xfrm>
                  <a:off x="4018" y="628303"/>
                  <a:ext cx="1943278" cy="837738"/>
                </a:xfrm>
                <a:prstGeom prst="roundRect">
                  <a:avLst/>
                </a:prstGeom>
                <a:grpFill/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34" name="Rounded Rectangle 4"/>
                <p:cNvSpPr/>
                <p:nvPr/>
              </p:nvSpPr>
              <p:spPr>
                <a:xfrm>
                  <a:off x="44913" y="669198"/>
                  <a:ext cx="1861488" cy="755948"/>
                </a:xfrm>
                <a:prstGeom prst="rect">
                  <a:avLst/>
                </a:prstGeom>
                <a:grpFill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68580" tIns="68580" rIns="68580" bIns="68580" numCol="1" spcCol="1270" anchor="ctr" anchorCtr="0">
                  <a:noAutofit/>
                </a:bodyPr>
                <a:lstStyle/>
                <a:p>
                  <a:pPr algn="ctr" defTabSz="8001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GB" sz="1200" b="1" dirty="0" smtClean="0">
                      <a:solidFill>
                        <a:srgbClr val="FF0000"/>
                      </a:solidFill>
                    </a:rPr>
                    <a:t>DHL Healthcare Fleet</a:t>
                  </a:r>
                </a:p>
              </p:txBody>
            </p:sp>
          </p:grpSp>
          <p:pic>
            <p:nvPicPr>
              <p:cNvPr id="1028" name="Picture 4" descr="Image result for DHL Freight">
                <a:hlinkClick r:id="rId4"/>
              </p:cNvPr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72934" y="1163791"/>
                <a:ext cx="2032032" cy="10532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35" name="Group 34"/>
              <p:cNvGrpSpPr/>
              <p:nvPr/>
            </p:nvGrpSpPr>
            <p:grpSpPr>
              <a:xfrm>
                <a:off x="6572934" y="2247135"/>
                <a:ext cx="2025132" cy="285608"/>
                <a:chOff x="4018" y="628303"/>
                <a:chExt cx="1943278" cy="837738"/>
              </a:xfrm>
              <a:solidFill>
                <a:srgbClr val="FFC000"/>
              </a:solidFill>
            </p:grpSpPr>
            <p:sp>
              <p:nvSpPr>
                <p:cNvPr id="36" name="Rounded Rectangle 35"/>
                <p:cNvSpPr/>
                <p:nvPr/>
              </p:nvSpPr>
              <p:spPr>
                <a:xfrm>
                  <a:off x="4018" y="628303"/>
                  <a:ext cx="1943278" cy="837738"/>
                </a:xfrm>
                <a:prstGeom prst="roundRect">
                  <a:avLst/>
                </a:prstGeom>
                <a:grpFill/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37" name="Rounded Rectangle 4"/>
                <p:cNvSpPr/>
                <p:nvPr/>
              </p:nvSpPr>
              <p:spPr>
                <a:xfrm>
                  <a:off x="44913" y="669198"/>
                  <a:ext cx="1861488" cy="755948"/>
                </a:xfrm>
                <a:prstGeom prst="rect">
                  <a:avLst/>
                </a:prstGeom>
                <a:grpFill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68580" tIns="68580" rIns="68580" bIns="68580" numCol="1" spcCol="1270" anchor="ctr" anchorCtr="0">
                  <a:noAutofit/>
                </a:bodyPr>
                <a:lstStyle/>
                <a:p>
                  <a:pPr algn="ctr" defTabSz="8001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GB" sz="1200" b="1" dirty="0" smtClean="0">
                      <a:solidFill>
                        <a:srgbClr val="FF0000"/>
                      </a:solidFill>
                    </a:rPr>
                    <a:t>European Freight</a:t>
                  </a:r>
                </a:p>
              </p:txBody>
            </p:sp>
          </p:grpSp>
          <p:pic>
            <p:nvPicPr>
              <p:cNvPr id="1030" name="Picture 6" descr="Image result for Freight containers">
                <a:hlinkClick r:id="rId6"/>
              </p:cNvPr>
              <p:cNvPicPr>
                <a:picLocks noChangeAspect="1" noChangeArrowheads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80680" y="2642456"/>
                <a:ext cx="2009640" cy="1053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54" name="Group 53"/>
              <p:cNvGrpSpPr/>
              <p:nvPr/>
            </p:nvGrpSpPr>
            <p:grpSpPr>
              <a:xfrm>
                <a:off x="6564509" y="3734040"/>
                <a:ext cx="2025132" cy="295415"/>
                <a:chOff x="4018" y="558641"/>
                <a:chExt cx="1943278" cy="866505"/>
              </a:xfrm>
            </p:grpSpPr>
            <p:sp>
              <p:nvSpPr>
                <p:cNvPr id="55" name="Rounded Rectangle 54"/>
                <p:cNvSpPr/>
                <p:nvPr/>
              </p:nvSpPr>
              <p:spPr>
                <a:xfrm>
                  <a:off x="4018" y="558641"/>
                  <a:ext cx="1943278" cy="837738"/>
                </a:xfrm>
                <a:prstGeom prst="roundRect">
                  <a:avLst/>
                </a:pr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56" name="Rounded Rectangle 4"/>
                <p:cNvSpPr/>
                <p:nvPr/>
              </p:nvSpPr>
              <p:spPr>
                <a:xfrm>
                  <a:off x="44913" y="669198"/>
                  <a:ext cx="1861488" cy="755948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68580" tIns="68580" rIns="68580" bIns="68580" numCol="1" spcCol="1270" anchor="ctr" anchorCtr="0">
                  <a:noAutofit/>
                </a:bodyPr>
                <a:lstStyle/>
                <a:p>
                  <a:pPr algn="ctr" defTabSz="8001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GB" sz="1200" b="1" dirty="0" smtClean="0">
                      <a:solidFill>
                        <a:prstClr val="white"/>
                      </a:solidFill>
                    </a:rPr>
                    <a:t>Containers</a:t>
                  </a:r>
                </a:p>
              </p:txBody>
            </p:sp>
          </p:grpSp>
          <p:grpSp>
            <p:nvGrpSpPr>
              <p:cNvPr id="60" name="Group 59"/>
              <p:cNvGrpSpPr/>
              <p:nvPr/>
            </p:nvGrpSpPr>
            <p:grpSpPr>
              <a:xfrm>
                <a:off x="612047" y="5766233"/>
                <a:ext cx="2025132" cy="285608"/>
                <a:chOff x="4018" y="628303"/>
                <a:chExt cx="1943278" cy="837738"/>
              </a:xfrm>
            </p:grpSpPr>
            <p:sp>
              <p:nvSpPr>
                <p:cNvPr id="61" name="Rounded Rectangle 60"/>
                <p:cNvSpPr/>
                <p:nvPr/>
              </p:nvSpPr>
              <p:spPr>
                <a:xfrm>
                  <a:off x="4018" y="628303"/>
                  <a:ext cx="1943278" cy="837738"/>
                </a:xfrm>
                <a:prstGeom prst="roundRect">
                  <a:avLst/>
                </a:pr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62" name="Rounded Rectangle 4"/>
                <p:cNvSpPr/>
                <p:nvPr/>
              </p:nvSpPr>
              <p:spPr>
                <a:xfrm>
                  <a:off x="44913" y="669198"/>
                  <a:ext cx="1861488" cy="755948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68580" tIns="68580" rIns="68580" bIns="68580" numCol="1" spcCol="1270" anchor="ctr" anchorCtr="0">
                  <a:noAutofit/>
                </a:bodyPr>
                <a:lstStyle/>
                <a:p>
                  <a:pPr algn="ctr" defTabSz="8001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GB" sz="1200" b="1" dirty="0" smtClean="0">
                      <a:solidFill>
                        <a:prstClr val="white"/>
                      </a:solidFill>
                    </a:rPr>
                    <a:t>Parcel Carriers</a:t>
                  </a:r>
                </a:p>
              </p:txBody>
            </p:sp>
          </p:grpSp>
          <p:grpSp>
            <p:nvGrpSpPr>
              <p:cNvPr id="42" name="Group 20"/>
              <p:cNvGrpSpPr>
                <a:grpSpLocks/>
              </p:cNvGrpSpPr>
              <p:nvPr/>
            </p:nvGrpSpPr>
            <p:grpSpPr bwMode="auto">
              <a:xfrm>
                <a:off x="2449769" y="1057102"/>
                <a:ext cx="5387923" cy="5055985"/>
                <a:chOff x="2268538" y="620713"/>
                <a:chExt cx="6335712" cy="5688012"/>
              </a:xfrm>
            </p:grpSpPr>
            <p:sp>
              <p:nvSpPr>
                <p:cNvPr id="49" name="Freeform 187"/>
                <p:cNvSpPr>
                  <a:spLocks noChangeAspect="1" noEditPoints="1"/>
                </p:cNvSpPr>
                <p:nvPr/>
              </p:nvSpPr>
              <p:spPr bwMode="gray">
                <a:xfrm>
                  <a:off x="3757613" y="696913"/>
                  <a:ext cx="3984625" cy="5611812"/>
                </a:xfrm>
                <a:custGeom>
                  <a:avLst/>
                  <a:gdLst>
                    <a:gd name="T0" fmla="*/ 2147483647 w 2993"/>
                    <a:gd name="T1" fmla="*/ 2147483647 h 4779"/>
                    <a:gd name="T2" fmla="*/ 2147483647 w 2993"/>
                    <a:gd name="T3" fmla="*/ 2147483647 h 4779"/>
                    <a:gd name="T4" fmla="*/ 2147483647 w 2993"/>
                    <a:gd name="T5" fmla="*/ 2147483647 h 4779"/>
                    <a:gd name="T6" fmla="*/ 2147483647 w 2993"/>
                    <a:gd name="T7" fmla="*/ 2147483647 h 4779"/>
                    <a:gd name="T8" fmla="*/ 2147483647 w 2993"/>
                    <a:gd name="T9" fmla="*/ 2147483647 h 4779"/>
                    <a:gd name="T10" fmla="*/ 2147483647 w 2993"/>
                    <a:gd name="T11" fmla="*/ 2147483647 h 4779"/>
                    <a:gd name="T12" fmla="*/ 2147483647 w 2993"/>
                    <a:gd name="T13" fmla="*/ 2147483647 h 4779"/>
                    <a:gd name="T14" fmla="*/ 2147483647 w 2993"/>
                    <a:gd name="T15" fmla="*/ 2147483647 h 4779"/>
                    <a:gd name="T16" fmla="*/ 2147483647 w 2993"/>
                    <a:gd name="T17" fmla="*/ 2147483647 h 4779"/>
                    <a:gd name="T18" fmla="*/ 2147483647 w 2993"/>
                    <a:gd name="T19" fmla="*/ 2147483647 h 4779"/>
                    <a:gd name="T20" fmla="*/ 2147483647 w 2993"/>
                    <a:gd name="T21" fmla="*/ 2147483647 h 4779"/>
                    <a:gd name="T22" fmla="*/ 2147483647 w 2993"/>
                    <a:gd name="T23" fmla="*/ 2147483647 h 4779"/>
                    <a:gd name="T24" fmla="*/ 2147483647 w 2993"/>
                    <a:gd name="T25" fmla="*/ 2147483647 h 4779"/>
                    <a:gd name="T26" fmla="*/ 2147483647 w 2993"/>
                    <a:gd name="T27" fmla="*/ 2147483647 h 4779"/>
                    <a:gd name="T28" fmla="*/ 2147483647 w 2993"/>
                    <a:gd name="T29" fmla="*/ 2147483647 h 4779"/>
                    <a:gd name="T30" fmla="*/ 2147483647 w 2993"/>
                    <a:gd name="T31" fmla="*/ 2147483647 h 4779"/>
                    <a:gd name="T32" fmla="*/ 2147483647 w 2993"/>
                    <a:gd name="T33" fmla="*/ 2147483647 h 4779"/>
                    <a:gd name="T34" fmla="*/ 2147483647 w 2993"/>
                    <a:gd name="T35" fmla="*/ 2147483647 h 4779"/>
                    <a:gd name="T36" fmla="*/ 2147483647 w 2993"/>
                    <a:gd name="T37" fmla="*/ 2147483647 h 4779"/>
                    <a:gd name="T38" fmla="*/ 2147483647 w 2993"/>
                    <a:gd name="T39" fmla="*/ 2147483647 h 4779"/>
                    <a:gd name="T40" fmla="*/ 2147483647 w 2993"/>
                    <a:gd name="T41" fmla="*/ 2147483647 h 4779"/>
                    <a:gd name="T42" fmla="*/ 2147483647 w 2993"/>
                    <a:gd name="T43" fmla="*/ 2147483647 h 4779"/>
                    <a:gd name="T44" fmla="*/ 2147483647 w 2993"/>
                    <a:gd name="T45" fmla="*/ 2147483647 h 4779"/>
                    <a:gd name="T46" fmla="*/ 2147483647 w 2993"/>
                    <a:gd name="T47" fmla="*/ 2147483647 h 4779"/>
                    <a:gd name="T48" fmla="*/ 2147483647 w 2993"/>
                    <a:gd name="T49" fmla="*/ 2147483647 h 4779"/>
                    <a:gd name="T50" fmla="*/ 2147483647 w 2993"/>
                    <a:gd name="T51" fmla="*/ 2147483647 h 4779"/>
                    <a:gd name="T52" fmla="*/ 2147483647 w 2993"/>
                    <a:gd name="T53" fmla="*/ 2147483647 h 4779"/>
                    <a:gd name="T54" fmla="*/ 2147483647 w 2993"/>
                    <a:gd name="T55" fmla="*/ 2147483647 h 4779"/>
                    <a:gd name="T56" fmla="*/ 2147483647 w 2993"/>
                    <a:gd name="T57" fmla="*/ 2147483647 h 4779"/>
                    <a:gd name="T58" fmla="*/ 2147483647 w 2993"/>
                    <a:gd name="T59" fmla="*/ 2147483647 h 4779"/>
                    <a:gd name="T60" fmla="*/ 2147483647 w 2993"/>
                    <a:gd name="T61" fmla="*/ 2147483647 h 4779"/>
                    <a:gd name="T62" fmla="*/ 2147483647 w 2993"/>
                    <a:gd name="T63" fmla="*/ 2147483647 h 4779"/>
                    <a:gd name="T64" fmla="*/ 2147483647 w 2993"/>
                    <a:gd name="T65" fmla="*/ 2147483647 h 4779"/>
                    <a:gd name="T66" fmla="*/ 2147483647 w 2993"/>
                    <a:gd name="T67" fmla="*/ 2147483647 h 4779"/>
                    <a:gd name="T68" fmla="*/ 2147483647 w 2993"/>
                    <a:gd name="T69" fmla="*/ 2147483647 h 4779"/>
                    <a:gd name="T70" fmla="*/ 2147483647 w 2993"/>
                    <a:gd name="T71" fmla="*/ 2147483647 h 4779"/>
                    <a:gd name="T72" fmla="*/ 2147483647 w 2993"/>
                    <a:gd name="T73" fmla="*/ 2147483647 h 4779"/>
                    <a:gd name="T74" fmla="*/ 2147483647 w 2993"/>
                    <a:gd name="T75" fmla="*/ 2147483647 h 4779"/>
                    <a:gd name="T76" fmla="*/ 2147483647 w 2993"/>
                    <a:gd name="T77" fmla="*/ 2147483647 h 4779"/>
                    <a:gd name="T78" fmla="*/ 2147483647 w 2993"/>
                    <a:gd name="T79" fmla="*/ 2147483647 h 4779"/>
                    <a:gd name="T80" fmla="*/ 2147483647 w 2993"/>
                    <a:gd name="T81" fmla="*/ 2147483647 h 4779"/>
                    <a:gd name="T82" fmla="*/ 2147483647 w 2993"/>
                    <a:gd name="T83" fmla="*/ 2147483647 h 4779"/>
                    <a:gd name="T84" fmla="*/ 2147483647 w 2993"/>
                    <a:gd name="T85" fmla="*/ 2147483647 h 4779"/>
                    <a:gd name="T86" fmla="*/ 2147483647 w 2993"/>
                    <a:gd name="T87" fmla="*/ 2147483647 h 4779"/>
                    <a:gd name="T88" fmla="*/ 2147483647 w 2993"/>
                    <a:gd name="T89" fmla="*/ 2147483647 h 4779"/>
                    <a:gd name="T90" fmla="*/ 2147483647 w 2993"/>
                    <a:gd name="T91" fmla="*/ 2147483647 h 4779"/>
                    <a:gd name="T92" fmla="*/ 2147483647 w 2993"/>
                    <a:gd name="T93" fmla="*/ 2147483647 h 4779"/>
                    <a:gd name="T94" fmla="*/ 2147483647 w 2993"/>
                    <a:gd name="T95" fmla="*/ 2147483647 h 4779"/>
                    <a:gd name="T96" fmla="*/ 2147483647 w 2993"/>
                    <a:gd name="T97" fmla="*/ 2147483647 h 4779"/>
                    <a:gd name="T98" fmla="*/ 2147483647 w 2993"/>
                    <a:gd name="T99" fmla="*/ 2147483647 h 4779"/>
                    <a:gd name="T100" fmla="*/ 2147483647 w 2993"/>
                    <a:gd name="T101" fmla="*/ 2147483647 h 4779"/>
                    <a:gd name="T102" fmla="*/ 2147483647 w 2993"/>
                    <a:gd name="T103" fmla="*/ 2147483647 h 4779"/>
                    <a:gd name="T104" fmla="*/ 2147483647 w 2993"/>
                    <a:gd name="T105" fmla="*/ 2147483647 h 4779"/>
                    <a:gd name="T106" fmla="*/ 2147483647 w 2993"/>
                    <a:gd name="T107" fmla="*/ 2147483647 h 4779"/>
                    <a:gd name="T108" fmla="*/ 2147483647 w 2993"/>
                    <a:gd name="T109" fmla="*/ 2147483647 h 4779"/>
                    <a:gd name="T110" fmla="*/ 2147483647 w 2993"/>
                    <a:gd name="T111" fmla="*/ 2147483647 h 4779"/>
                    <a:gd name="T112" fmla="*/ 2147483647 w 2993"/>
                    <a:gd name="T113" fmla="*/ 2147483647 h 4779"/>
                    <a:gd name="T114" fmla="*/ 2147483647 w 2993"/>
                    <a:gd name="T115" fmla="*/ 2147483647 h 4779"/>
                    <a:gd name="T116" fmla="*/ 2147483647 w 2993"/>
                    <a:gd name="T117" fmla="*/ 2147483647 h 4779"/>
                    <a:gd name="T118" fmla="*/ 2147483647 w 2993"/>
                    <a:gd name="T119" fmla="*/ 2147483647 h 4779"/>
                    <a:gd name="T120" fmla="*/ 2147483647 w 2993"/>
                    <a:gd name="T121" fmla="*/ 2147483647 h 4779"/>
                    <a:gd name="T122" fmla="*/ 2147483647 w 2993"/>
                    <a:gd name="T123" fmla="*/ 2147483647 h 4779"/>
                    <a:gd name="T124" fmla="*/ 2147483647 w 2993"/>
                    <a:gd name="T125" fmla="*/ 2147483647 h 4779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0" t="0" r="r" b="b"/>
                  <a:pathLst>
                    <a:path w="2993" h="4779">
                      <a:moveTo>
                        <a:pt x="545" y="2644"/>
                      </a:moveTo>
                      <a:lnTo>
                        <a:pt x="533" y="2657"/>
                      </a:lnTo>
                      <a:lnTo>
                        <a:pt x="531" y="2653"/>
                      </a:lnTo>
                      <a:lnTo>
                        <a:pt x="522" y="2649"/>
                      </a:lnTo>
                      <a:lnTo>
                        <a:pt x="520" y="2671"/>
                      </a:lnTo>
                      <a:lnTo>
                        <a:pt x="512" y="2676"/>
                      </a:lnTo>
                      <a:lnTo>
                        <a:pt x="499" y="2676"/>
                      </a:lnTo>
                      <a:lnTo>
                        <a:pt x="495" y="2671"/>
                      </a:lnTo>
                      <a:lnTo>
                        <a:pt x="485" y="2667"/>
                      </a:lnTo>
                      <a:lnTo>
                        <a:pt x="477" y="2676"/>
                      </a:lnTo>
                      <a:lnTo>
                        <a:pt x="468" y="2676"/>
                      </a:lnTo>
                      <a:lnTo>
                        <a:pt x="447" y="2680"/>
                      </a:lnTo>
                      <a:lnTo>
                        <a:pt x="443" y="2682"/>
                      </a:lnTo>
                      <a:lnTo>
                        <a:pt x="431" y="2672"/>
                      </a:lnTo>
                      <a:lnTo>
                        <a:pt x="433" y="2649"/>
                      </a:lnTo>
                      <a:lnTo>
                        <a:pt x="437" y="2634"/>
                      </a:lnTo>
                      <a:lnTo>
                        <a:pt x="443" y="2624"/>
                      </a:lnTo>
                      <a:lnTo>
                        <a:pt x="439" y="2605"/>
                      </a:lnTo>
                      <a:lnTo>
                        <a:pt x="431" y="2601"/>
                      </a:lnTo>
                      <a:lnTo>
                        <a:pt x="422" y="2596"/>
                      </a:lnTo>
                      <a:lnTo>
                        <a:pt x="416" y="2601"/>
                      </a:lnTo>
                      <a:lnTo>
                        <a:pt x="408" y="2601"/>
                      </a:lnTo>
                      <a:lnTo>
                        <a:pt x="408" y="2594"/>
                      </a:lnTo>
                      <a:lnTo>
                        <a:pt x="395" y="2586"/>
                      </a:lnTo>
                      <a:lnTo>
                        <a:pt x="391" y="2571"/>
                      </a:lnTo>
                      <a:lnTo>
                        <a:pt x="389" y="2557"/>
                      </a:lnTo>
                      <a:lnTo>
                        <a:pt x="376" y="2550"/>
                      </a:lnTo>
                      <a:lnTo>
                        <a:pt x="381" y="2534"/>
                      </a:lnTo>
                      <a:lnTo>
                        <a:pt x="380" y="2513"/>
                      </a:lnTo>
                      <a:lnTo>
                        <a:pt x="370" y="2505"/>
                      </a:lnTo>
                      <a:lnTo>
                        <a:pt x="368" y="2496"/>
                      </a:lnTo>
                      <a:lnTo>
                        <a:pt x="364" y="2488"/>
                      </a:lnTo>
                      <a:lnTo>
                        <a:pt x="347" y="2477"/>
                      </a:lnTo>
                      <a:lnTo>
                        <a:pt x="337" y="2473"/>
                      </a:lnTo>
                      <a:lnTo>
                        <a:pt x="328" y="2475"/>
                      </a:lnTo>
                      <a:lnTo>
                        <a:pt x="312" y="2496"/>
                      </a:lnTo>
                      <a:lnTo>
                        <a:pt x="310" y="2502"/>
                      </a:lnTo>
                      <a:lnTo>
                        <a:pt x="295" y="2509"/>
                      </a:lnTo>
                      <a:lnTo>
                        <a:pt x="287" y="2507"/>
                      </a:lnTo>
                      <a:lnTo>
                        <a:pt x="287" y="2521"/>
                      </a:lnTo>
                      <a:lnTo>
                        <a:pt x="280" y="2521"/>
                      </a:lnTo>
                      <a:lnTo>
                        <a:pt x="278" y="2529"/>
                      </a:lnTo>
                      <a:lnTo>
                        <a:pt x="287" y="2538"/>
                      </a:lnTo>
                      <a:lnTo>
                        <a:pt x="286" y="2544"/>
                      </a:lnTo>
                      <a:lnTo>
                        <a:pt x="293" y="2544"/>
                      </a:lnTo>
                      <a:lnTo>
                        <a:pt x="295" y="2552"/>
                      </a:lnTo>
                      <a:lnTo>
                        <a:pt x="289" y="2557"/>
                      </a:lnTo>
                      <a:lnTo>
                        <a:pt x="293" y="2565"/>
                      </a:lnTo>
                      <a:lnTo>
                        <a:pt x="284" y="2571"/>
                      </a:lnTo>
                      <a:lnTo>
                        <a:pt x="278" y="2569"/>
                      </a:lnTo>
                      <a:lnTo>
                        <a:pt x="261" y="2573"/>
                      </a:lnTo>
                      <a:lnTo>
                        <a:pt x="264" y="2578"/>
                      </a:lnTo>
                      <a:lnTo>
                        <a:pt x="259" y="2582"/>
                      </a:lnTo>
                      <a:lnTo>
                        <a:pt x="261" y="2594"/>
                      </a:lnTo>
                      <a:lnTo>
                        <a:pt x="251" y="2607"/>
                      </a:lnTo>
                      <a:lnTo>
                        <a:pt x="247" y="2617"/>
                      </a:lnTo>
                      <a:lnTo>
                        <a:pt x="241" y="2617"/>
                      </a:lnTo>
                      <a:lnTo>
                        <a:pt x="241" y="2611"/>
                      </a:lnTo>
                      <a:lnTo>
                        <a:pt x="247" y="2611"/>
                      </a:lnTo>
                      <a:lnTo>
                        <a:pt x="243" y="2605"/>
                      </a:lnTo>
                      <a:lnTo>
                        <a:pt x="249" y="2596"/>
                      </a:lnTo>
                      <a:lnTo>
                        <a:pt x="243" y="2590"/>
                      </a:lnTo>
                      <a:lnTo>
                        <a:pt x="232" y="2603"/>
                      </a:lnTo>
                      <a:lnTo>
                        <a:pt x="238" y="2607"/>
                      </a:lnTo>
                      <a:lnTo>
                        <a:pt x="238" y="2621"/>
                      </a:lnTo>
                      <a:lnTo>
                        <a:pt x="230" y="2617"/>
                      </a:lnTo>
                      <a:lnTo>
                        <a:pt x="222" y="2609"/>
                      </a:lnTo>
                      <a:lnTo>
                        <a:pt x="213" y="2611"/>
                      </a:lnTo>
                      <a:lnTo>
                        <a:pt x="216" y="2603"/>
                      </a:lnTo>
                      <a:lnTo>
                        <a:pt x="207" y="2603"/>
                      </a:lnTo>
                      <a:lnTo>
                        <a:pt x="209" y="2596"/>
                      </a:lnTo>
                      <a:lnTo>
                        <a:pt x="201" y="2596"/>
                      </a:lnTo>
                      <a:lnTo>
                        <a:pt x="186" y="2609"/>
                      </a:lnTo>
                      <a:lnTo>
                        <a:pt x="172" y="2603"/>
                      </a:lnTo>
                      <a:lnTo>
                        <a:pt x="165" y="2607"/>
                      </a:lnTo>
                      <a:lnTo>
                        <a:pt x="161" y="2603"/>
                      </a:lnTo>
                      <a:lnTo>
                        <a:pt x="157" y="2596"/>
                      </a:lnTo>
                      <a:lnTo>
                        <a:pt x="151" y="2594"/>
                      </a:lnTo>
                      <a:lnTo>
                        <a:pt x="145" y="2578"/>
                      </a:lnTo>
                      <a:lnTo>
                        <a:pt x="138" y="2573"/>
                      </a:lnTo>
                      <a:lnTo>
                        <a:pt x="132" y="2576"/>
                      </a:lnTo>
                      <a:lnTo>
                        <a:pt x="130" y="2563"/>
                      </a:lnTo>
                      <a:lnTo>
                        <a:pt x="111" y="2557"/>
                      </a:lnTo>
                      <a:lnTo>
                        <a:pt x="92" y="2557"/>
                      </a:lnTo>
                      <a:lnTo>
                        <a:pt x="78" y="2550"/>
                      </a:lnTo>
                      <a:lnTo>
                        <a:pt x="82" y="2544"/>
                      </a:lnTo>
                      <a:lnTo>
                        <a:pt x="80" y="2511"/>
                      </a:lnTo>
                      <a:lnTo>
                        <a:pt x="76" y="2505"/>
                      </a:lnTo>
                      <a:lnTo>
                        <a:pt x="69" y="2507"/>
                      </a:lnTo>
                      <a:lnTo>
                        <a:pt x="63" y="2504"/>
                      </a:lnTo>
                      <a:lnTo>
                        <a:pt x="57" y="2498"/>
                      </a:lnTo>
                      <a:lnTo>
                        <a:pt x="53" y="2488"/>
                      </a:lnTo>
                      <a:lnTo>
                        <a:pt x="48" y="2481"/>
                      </a:lnTo>
                      <a:lnTo>
                        <a:pt x="34" y="2469"/>
                      </a:lnTo>
                      <a:lnTo>
                        <a:pt x="26" y="2459"/>
                      </a:lnTo>
                      <a:lnTo>
                        <a:pt x="25" y="2450"/>
                      </a:lnTo>
                      <a:lnTo>
                        <a:pt x="15" y="2438"/>
                      </a:lnTo>
                      <a:lnTo>
                        <a:pt x="0" y="2423"/>
                      </a:lnTo>
                      <a:lnTo>
                        <a:pt x="5" y="2417"/>
                      </a:lnTo>
                      <a:lnTo>
                        <a:pt x="0" y="2411"/>
                      </a:lnTo>
                      <a:lnTo>
                        <a:pt x="5" y="2408"/>
                      </a:lnTo>
                      <a:lnTo>
                        <a:pt x="19" y="2408"/>
                      </a:lnTo>
                      <a:lnTo>
                        <a:pt x="30" y="2402"/>
                      </a:lnTo>
                      <a:lnTo>
                        <a:pt x="42" y="2402"/>
                      </a:lnTo>
                      <a:lnTo>
                        <a:pt x="42" y="2394"/>
                      </a:lnTo>
                      <a:lnTo>
                        <a:pt x="46" y="2388"/>
                      </a:lnTo>
                      <a:lnTo>
                        <a:pt x="53" y="2377"/>
                      </a:lnTo>
                      <a:lnTo>
                        <a:pt x="71" y="2379"/>
                      </a:lnTo>
                      <a:lnTo>
                        <a:pt x="92" y="2385"/>
                      </a:lnTo>
                      <a:lnTo>
                        <a:pt x="111" y="2377"/>
                      </a:lnTo>
                      <a:lnTo>
                        <a:pt x="115" y="2365"/>
                      </a:lnTo>
                      <a:lnTo>
                        <a:pt x="122" y="2362"/>
                      </a:lnTo>
                      <a:lnTo>
                        <a:pt x="128" y="2362"/>
                      </a:lnTo>
                      <a:lnTo>
                        <a:pt x="134" y="2356"/>
                      </a:lnTo>
                      <a:lnTo>
                        <a:pt x="151" y="2352"/>
                      </a:lnTo>
                      <a:lnTo>
                        <a:pt x="147" y="2344"/>
                      </a:lnTo>
                      <a:lnTo>
                        <a:pt x="145" y="2339"/>
                      </a:lnTo>
                      <a:lnTo>
                        <a:pt x="140" y="2342"/>
                      </a:lnTo>
                      <a:lnTo>
                        <a:pt x="128" y="2344"/>
                      </a:lnTo>
                      <a:lnTo>
                        <a:pt x="113" y="2335"/>
                      </a:lnTo>
                      <a:lnTo>
                        <a:pt x="107" y="2333"/>
                      </a:lnTo>
                      <a:lnTo>
                        <a:pt x="105" y="2323"/>
                      </a:lnTo>
                      <a:lnTo>
                        <a:pt x="96" y="2321"/>
                      </a:lnTo>
                      <a:lnTo>
                        <a:pt x="92" y="2310"/>
                      </a:lnTo>
                      <a:lnTo>
                        <a:pt x="97" y="2304"/>
                      </a:lnTo>
                      <a:lnTo>
                        <a:pt x="90" y="2302"/>
                      </a:lnTo>
                      <a:lnTo>
                        <a:pt x="92" y="2296"/>
                      </a:lnTo>
                      <a:lnTo>
                        <a:pt x="101" y="2294"/>
                      </a:lnTo>
                      <a:lnTo>
                        <a:pt x="111" y="2289"/>
                      </a:lnTo>
                      <a:lnTo>
                        <a:pt x="113" y="2281"/>
                      </a:lnTo>
                      <a:lnTo>
                        <a:pt x="120" y="2281"/>
                      </a:lnTo>
                      <a:lnTo>
                        <a:pt x="128" y="2291"/>
                      </a:lnTo>
                      <a:lnTo>
                        <a:pt x="136" y="2298"/>
                      </a:lnTo>
                      <a:lnTo>
                        <a:pt x="155" y="2291"/>
                      </a:lnTo>
                      <a:lnTo>
                        <a:pt x="168" y="2285"/>
                      </a:lnTo>
                      <a:lnTo>
                        <a:pt x="178" y="2279"/>
                      </a:lnTo>
                      <a:lnTo>
                        <a:pt x="186" y="2287"/>
                      </a:lnTo>
                      <a:lnTo>
                        <a:pt x="192" y="2281"/>
                      </a:lnTo>
                      <a:lnTo>
                        <a:pt x="195" y="2287"/>
                      </a:lnTo>
                      <a:lnTo>
                        <a:pt x="207" y="2287"/>
                      </a:lnTo>
                      <a:lnTo>
                        <a:pt x="203" y="2281"/>
                      </a:lnTo>
                      <a:lnTo>
                        <a:pt x="205" y="2262"/>
                      </a:lnTo>
                      <a:lnTo>
                        <a:pt x="230" y="2241"/>
                      </a:lnTo>
                      <a:lnTo>
                        <a:pt x="234" y="2231"/>
                      </a:lnTo>
                      <a:lnTo>
                        <a:pt x="239" y="2220"/>
                      </a:lnTo>
                      <a:lnTo>
                        <a:pt x="241" y="2200"/>
                      </a:lnTo>
                      <a:lnTo>
                        <a:pt x="241" y="2191"/>
                      </a:lnTo>
                      <a:lnTo>
                        <a:pt x="247" y="2185"/>
                      </a:lnTo>
                      <a:lnTo>
                        <a:pt x="257" y="2185"/>
                      </a:lnTo>
                      <a:lnTo>
                        <a:pt x="259" y="2160"/>
                      </a:lnTo>
                      <a:lnTo>
                        <a:pt x="266" y="2145"/>
                      </a:lnTo>
                      <a:lnTo>
                        <a:pt x="278" y="2133"/>
                      </a:lnTo>
                      <a:lnTo>
                        <a:pt x="287" y="2135"/>
                      </a:lnTo>
                      <a:lnTo>
                        <a:pt x="291" y="2133"/>
                      </a:lnTo>
                      <a:lnTo>
                        <a:pt x="301" y="2131"/>
                      </a:lnTo>
                      <a:lnTo>
                        <a:pt x="301" y="2141"/>
                      </a:lnTo>
                      <a:lnTo>
                        <a:pt x="316" y="2137"/>
                      </a:lnTo>
                      <a:lnTo>
                        <a:pt x="328" y="2133"/>
                      </a:lnTo>
                      <a:lnTo>
                        <a:pt x="343" y="2139"/>
                      </a:lnTo>
                      <a:lnTo>
                        <a:pt x="353" y="2147"/>
                      </a:lnTo>
                      <a:lnTo>
                        <a:pt x="372" y="2133"/>
                      </a:lnTo>
                      <a:lnTo>
                        <a:pt x="380" y="2120"/>
                      </a:lnTo>
                      <a:lnTo>
                        <a:pt x="391" y="2103"/>
                      </a:lnTo>
                      <a:lnTo>
                        <a:pt x="397" y="2074"/>
                      </a:lnTo>
                      <a:lnTo>
                        <a:pt x="410" y="2081"/>
                      </a:lnTo>
                      <a:lnTo>
                        <a:pt x="433" y="2083"/>
                      </a:lnTo>
                      <a:lnTo>
                        <a:pt x="454" y="2087"/>
                      </a:lnTo>
                      <a:lnTo>
                        <a:pt x="466" y="2080"/>
                      </a:lnTo>
                      <a:lnTo>
                        <a:pt x="483" y="2068"/>
                      </a:lnTo>
                      <a:lnTo>
                        <a:pt x="497" y="2068"/>
                      </a:lnTo>
                      <a:lnTo>
                        <a:pt x="508" y="2068"/>
                      </a:lnTo>
                      <a:lnTo>
                        <a:pt x="527" y="2060"/>
                      </a:lnTo>
                      <a:lnTo>
                        <a:pt x="541" y="2049"/>
                      </a:lnTo>
                      <a:lnTo>
                        <a:pt x="560" y="2058"/>
                      </a:lnTo>
                      <a:lnTo>
                        <a:pt x="577" y="2057"/>
                      </a:lnTo>
                      <a:lnTo>
                        <a:pt x="595" y="2064"/>
                      </a:lnTo>
                      <a:lnTo>
                        <a:pt x="606" y="2074"/>
                      </a:lnTo>
                      <a:lnTo>
                        <a:pt x="616" y="2080"/>
                      </a:lnTo>
                      <a:lnTo>
                        <a:pt x="627" y="2074"/>
                      </a:lnTo>
                      <a:lnTo>
                        <a:pt x="641" y="2070"/>
                      </a:lnTo>
                      <a:lnTo>
                        <a:pt x="650" y="2078"/>
                      </a:lnTo>
                      <a:lnTo>
                        <a:pt x="664" y="2087"/>
                      </a:lnTo>
                      <a:lnTo>
                        <a:pt x="666" y="2099"/>
                      </a:lnTo>
                      <a:lnTo>
                        <a:pt x="671" y="2106"/>
                      </a:lnTo>
                      <a:lnTo>
                        <a:pt x="667" y="2120"/>
                      </a:lnTo>
                      <a:lnTo>
                        <a:pt x="664" y="2133"/>
                      </a:lnTo>
                      <a:lnTo>
                        <a:pt x="660" y="2145"/>
                      </a:lnTo>
                      <a:lnTo>
                        <a:pt x="662" y="2156"/>
                      </a:lnTo>
                      <a:lnTo>
                        <a:pt x="673" y="2156"/>
                      </a:lnTo>
                      <a:lnTo>
                        <a:pt x="683" y="2158"/>
                      </a:lnTo>
                      <a:lnTo>
                        <a:pt x="683" y="2166"/>
                      </a:lnTo>
                      <a:lnTo>
                        <a:pt x="683" y="2181"/>
                      </a:lnTo>
                      <a:lnTo>
                        <a:pt x="677" y="2195"/>
                      </a:lnTo>
                      <a:lnTo>
                        <a:pt x="689" y="2206"/>
                      </a:lnTo>
                      <a:lnTo>
                        <a:pt x="706" y="2223"/>
                      </a:lnTo>
                      <a:lnTo>
                        <a:pt x="712" y="2245"/>
                      </a:lnTo>
                      <a:lnTo>
                        <a:pt x="721" y="2266"/>
                      </a:lnTo>
                      <a:lnTo>
                        <a:pt x="727" y="2279"/>
                      </a:lnTo>
                      <a:lnTo>
                        <a:pt x="731" y="2291"/>
                      </a:lnTo>
                      <a:lnTo>
                        <a:pt x="738" y="2300"/>
                      </a:lnTo>
                      <a:lnTo>
                        <a:pt x="738" y="2285"/>
                      </a:lnTo>
                      <a:lnTo>
                        <a:pt x="731" y="2275"/>
                      </a:lnTo>
                      <a:lnTo>
                        <a:pt x="731" y="2266"/>
                      </a:lnTo>
                      <a:lnTo>
                        <a:pt x="742" y="2271"/>
                      </a:lnTo>
                      <a:lnTo>
                        <a:pt x="748" y="2285"/>
                      </a:lnTo>
                      <a:lnTo>
                        <a:pt x="752" y="2298"/>
                      </a:lnTo>
                      <a:lnTo>
                        <a:pt x="754" y="2310"/>
                      </a:lnTo>
                      <a:lnTo>
                        <a:pt x="742" y="2321"/>
                      </a:lnTo>
                      <a:lnTo>
                        <a:pt x="737" y="2333"/>
                      </a:lnTo>
                      <a:lnTo>
                        <a:pt x="719" y="2339"/>
                      </a:lnTo>
                      <a:lnTo>
                        <a:pt x="706" y="2344"/>
                      </a:lnTo>
                      <a:lnTo>
                        <a:pt x="690" y="2360"/>
                      </a:lnTo>
                      <a:lnTo>
                        <a:pt x="683" y="2371"/>
                      </a:lnTo>
                      <a:lnTo>
                        <a:pt x="677" y="2379"/>
                      </a:lnTo>
                      <a:lnTo>
                        <a:pt x="687" y="2381"/>
                      </a:lnTo>
                      <a:lnTo>
                        <a:pt x="696" y="2383"/>
                      </a:lnTo>
                      <a:lnTo>
                        <a:pt x="714" y="2367"/>
                      </a:lnTo>
                      <a:lnTo>
                        <a:pt x="721" y="2358"/>
                      </a:lnTo>
                      <a:lnTo>
                        <a:pt x="738" y="2360"/>
                      </a:lnTo>
                      <a:lnTo>
                        <a:pt x="760" y="2360"/>
                      </a:lnTo>
                      <a:lnTo>
                        <a:pt x="781" y="2362"/>
                      </a:lnTo>
                      <a:lnTo>
                        <a:pt x="786" y="2364"/>
                      </a:lnTo>
                      <a:lnTo>
                        <a:pt x="792" y="2360"/>
                      </a:lnTo>
                      <a:lnTo>
                        <a:pt x="800" y="2367"/>
                      </a:lnTo>
                      <a:lnTo>
                        <a:pt x="798" y="2385"/>
                      </a:lnTo>
                      <a:lnTo>
                        <a:pt x="792" y="2390"/>
                      </a:lnTo>
                      <a:lnTo>
                        <a:pt x="796" y="2398"/>
                      </a:lnTo>
                      <a:lnTo>
                        <a:pt x="804" y="2406"/>
                      </a:lnTo>
                      <a:lnTo>
                        <a:pt x="802" y="2425"/>
                      </a:lnTo>
                      <a:lnTo>
                        <a:pt x="806" y="2429"/>
                      </a:lnTo>
                      <a:lnTo>
                        <a:pt x="813" y="2463"/>
                      </a:lnTo>
                      <a:lnTo>
                        <a:pt x="817" y="2469"/>
                      </a:lnTo>
                      <a:lnTo>
                        <a:pt x="815" y="2486"/>
                      </a:lnTo>
                      <a:lnTo>
                        <a:pt x="806" y="2494"/>
                      </a:lnTo>
                      <a:lnTo>
                        <a:pt x="806" y="2519"/>
                      </a:lnTo>
                      <a:lnTo>
                        <a:pt x="792" y="2534"/>
                      </a:lnTo>
                      <a:lnTo>
                        <a:pt x="785" y="2530"/>
                      </a:lnTo>
                      <a:lnTo>
                        <a:pt x="785" y="2519"/>
                      </a:lnTo>
                      <a:lnTo>
                        <a:pt x="775" y="2509"/>
                      </a:lnTo>
                      <a:lnTo>
                        <a:pt x="777" y="2500"/>
                      </a:lnTo>
                      <a:lnTo>
                        <a:pt x="786" y="2492"/>
                      </a:lnTo>
                      <a:lnTo>
                        <a:pt x="786" y="2479"/>
                      </a:lnTo>
                      <a:lnTo>
                        <a:pt x="788" y="2458"/>
                      </a:lnTo>
                      <a:lnTo>
                        <a:pt x="783" y="2442"/>
                      </a:lnTo>
                      <a:lnTo>
                        <a:pt x="775" y="2440"/>
                      </a:lnTo>
                      <a:lnTo>
                        <a:pt x="763" y="2427"/>
                      </a:lnTo>
                      <a:lnTo>
                        <a:pt x="756" y="2425"/>
                      </a:lnTo>
                      <a:lnTo>
                        <a:pt x="746" y="2444"/>
                      </a:lnTo>
                      <a:lnTo>
                        <a:pt x="750" y="2459"/>
                      </a:lnTo>
                      <a:lnTo>
                        <a:pt x="758" y="2475"/>
                      </a:lnTo>
                      <a:lnTo>
                        <a:pt x="761" y="2484"/>
                      </a:lnTo>
                      <a:lnTo>
                        <a:pt x="756" y="2490"/>
                      </a:lnTo>
                      <a:lnTo>
                        <a:pt x="756" y="2502"/>
                      </a:lnTo>
                      <a:lnTo>
                        <a:pt x="754" y="2511"/>
                      </a:lnTo>
                      <a:lnTo>
                        <a:pt x="738" y="2525"/>
                      </a:lnTo>
                      <a:lnTo>
                        <a:pt x="742" y="2529"/>
                      </a:lnTo>
                      <a:lnTo>
                        <a:pt x="760" y="2523"/>
                      </a:lnTo>
                      <a:lnTo>
                        <a:pt x="769" y="2521"/>
                      </a:lnTo>
                      <a:lnTo>
                        <a:pt x="779" y="2529"/>
                      </a:lnTo>
                      <a:lnTo>
                        <a:pt x="781" y="2544"/>
                      </a:lnTo>
                      <a:lnTo>
                        <a:pt x="786" y="2553"/>
                      </a:lnTo>
                      <a:lnTo>
                        <a:pt x="769" y="2571"/>
                      </a:lnTo>
                      <a:lnTo>
                        <a:pt x="760" y="2582"/>
                      </a:lnTo>
                      <a:lnTo>
                        <a:pt x="752" y="2582"/>
                      </a:lnTo>
                      <a:lnTo>
                        <a:pt x="746" y="2590"/>
                      </a:lnTo>
                      <a:lnTo>
                        <a:pt x="740" y="2590"/>
                      </a:lnTo>
                      <a:lnTo>
                        <a:pt x="725" y="2584"/>
                      </a:lnTo>
                      <a:lnTo>
                        <a:pt x="717" y="2584"/>
                      </a:lnTo>
                      <a:lnTo>
                        <a:pt x="702" y="2584"/>
                      </a:lnTo>
                      <a:lnTo>
                        <a:pt x="692" y="2575"/>
                      </a:lnTo>
                      <a:lnTo>
                        <a:pt x="687" y="2578"/>
                      </a:lnTo>
                      <a:lnTo>
                        <a:pt x="690" y="2586"/>
                      </a:lnTo>
                      <a:lnTo>
                        <a:pt x="683" y="2596"/>
                      </a:lnTo>
                      <a:lnTo>
                        <a:pt x="675" y="2601"/>
                      </a:lnTo>
                      <a:lnTo>
                        <a:pt x="673" y="2607"/>
                      </a:lnTo>
                      <a:lnTo>
                        <a:pt x="677" y="2615"/>
                      </a:lnTo>
                      <a:lnTo>
                        <a:pt x="677" y="2624"/>
                      </a:lnTo>
                      <a:lnTo>
                        <a:pt x="671" y="2644"/>
                      </a:lnTo>
                      <a:lnTo>
                        <a:pt x="660" y="2655"/>
                      </a:lnTo>
                      <a:lnTo>
                        <a:pt x="642" y="2671"/>
                      </a:lnTo>
                      <a:lnTo>
                        <a:pt x="627" y="2676"/>
                      </a:lnTo>
                      <a:lnTo>
                        <a:pt x="610" y="2674"/>
                      </a:lnTo>
                      <a:lnTo>
                        <a:pt x="593" y="2667"/>
                      </a:lnTo>
                      <a:lnTo>
                        <a:pt x="577" y="2653"/>
                      </a:lnTo>
                      <a:lnTo>
                        <a:pt x="560" y="2646"/>
                      </a:lnTo>
                      <a:lnTo>
                        <a:pt x="554" y="2649"/>
                      </a:lnTo>
                      <a:lnTo>
                        <a:pt x="545" y="2644"/>
                      </a:lnTo>
                      <a:close/>
                      <a:moveTo>
                        <a:pt x="602" y="2020"/>
                      </a:moveTo>
                      <a:lnTo>
                        <a:pt x="598" y="2035"/>
                      </a:lnTo>
                      <a:lnTo>
                        <a:pt x="621" y="2043"/>
                      </a:lnTo>
                      <a:lnTo>
                        <a:pt x="623" y="2055"/>
                      </a:lnTo>
                      <a:lnTo>
                        <a:pt x="635" y="2032"/>
                      </a:lnTo>
                      <a:lnTo>
                        <a:pt x="602" y="2020"/>
                      </a:lnTo>
                      <a:close/>
                      <a:moveTo>
                        <a:pt x="1594" y="280"/>
                      </a:moveTo>
                      <a:lnTo>
                        <a:pt x="1564" y="284"/>
                      </a:lnTo>
                      <a:lnTo>
                        <a:pt x="1558" y="289"/>
                      </a:lnTo>
                      <a:lnTo>
                        <a:pt x="1569" y="288"/>
                      </a:lnTo>
                      <a:lnTo>
                        <a:pt x="1571" y="291"/>
                      </a:lnTo>
                      <a:lnTo>
                        <a:pt x="1562" y="295"/>
                      </a:lnTo>
                      <a:lnTo>
                        <a:pt x="1566" y="305"/>
                      </a:lnTo>
                      <a:lnTo>
                        <a:pt x="1571" y="307"/>
                      </a:lnTo>
                      <a:lnTo>
                        <a:pt x="1573" y="330"/>
                      </a:lnTo>
                      <a:lnTo>
                        <a:pt x="1583" y="334"/>
                      </a:lnTo>
                      <a:lnTo>
                        <a:pt x="1591" y="330"/>
                      </a:lnTo>
                      <a:lnTo>
                        <a:pt x="1591" y="316"/>
                      </a:lnTo>
                      <a:lnTo>
                        <a:pt x="1581" y="314"/>
                      </a:lnTo>
                      <a:lnTo>
                        <a:pt x="1589" y="309"/>
                      </a:lnTo>
                      <a:lnTo>
                        <a:pt x="1589" y="295"/>
                      </a:lnTo>
                      <a:lnTo>
                        <a:pt x="1596" y="289"/>
                      </a:lnTo>
                      <a:lnTo>
                        <a:pt x="1594" y="280"/>
                      </a:lnTo>
                      <a:close/>
                      <a:moveTo>
                        <a:pt x="1550" y="274"/>
                      </a:moveTo>
                      <a:lnTo>
                        <a:pt x="1537" y="276"/>
                      </a:lnTo>
                      <a:lnTo>
                        <a:pt x="1527" y="286"/>
                      </a:lnTo>
                      <a:lnTo>
                        <a:pt x="1533" y="293"/>
                      </a:lnTo>
                      <a:lnTo>
                        <a:pt x="1546" y="291"/>
                      </a:lnTo>
                      <a:lnTo>
                        <a:pt x="1546" y="284"/>
                      </a:lnTo>
                      <a:lnTo>
                        <a:pt x="1541" y="280"/>
                      </a:lnTo>
                      <a:lnTo>
                        <a:pt x="1550" y="280"/>
                      </a:lnTo>
                      <a:lnTo>
                        <a:pt x="1550" y="274"/>
                      </a:lnTo>
                      <a:close/>
                      <a:moveTo>
                        <a:pt x="1481" y="232"/>
                      </a:moveTo>
                      <a:lnTo>
                        <a:pt x="1470" y="232"/>
                      </a:lnTo>
                      <a:lnTo>
                        <a:pt x="1468" y="236"/>
                      </a:lnTo>
                      <a:lnTo>
                        <a:pt x="1460" y="238"/>
                      </a:lnTo>
                      <a:lnTo>
                        <a:pt x="1458" y="245"/>
                      </a:lnTo>
                      <a:lnTo>
                        <a:pt x="1454" y="263"/>
                      </a:lnTo>
                      <a:lnTo>
                        <a:pt x="1466" y="261"/>
                      </a:lnTo>
                      <a:lnTo>
                        <a:pt x="1468" y="274"/>
                      </a:lnTo>
                      <a:lnTo>
                        <a:pt x="1477" y="291"/>
                      </a:lnTo>
                      <a:lnTo>
                        <a:pt x="1483" y="295"/>
                      </a:lnTo>
                      <a:lnTo>
                        <a:pt x="1487" y="305"/>
                      </a:lnTo>
                      <a:lnTo>
                        <a:pt x="1497" y="309"/>
                      </a:lnTo>
                      <a:lnTo>
                        <a:pt x="1504" y="297"/>
                      </a:lnTo>
                      <a:lnTo>
                        <a:pt x="1521" y="288"/>
                      </a:lnTo>
                      <a:lnTo>
                        <a:pt x="1514" y="274"/>
                      </a:lnTo>
                      <a:lnTo>
                        <a:pt x="1520" y="272"/>
                      </a:lnTo>
                      <a:lnTo>
                        <a:pt x="1508" y="259"/>
                      </a:lnTo>
                      <a:lnTo>
                        <a:pt x="1508" y="253"/>
                      </a:lnTo>
                      <a:lnTo>
                        <a:pt x="1504" y="253"/>
                      </a:lnTo>
                      <a:lnTo>
                        <a:pt x="1498" y="243"/>
                      </a:lnTo>
                      <a:lnTo>
                        <a:pt x="1489" y="243"/>
                      </a:lnTo>
                      <a:lnTo>
                        <a:pt x="1481" y="232"/>
                      </a:lnTo>
                      <a:close/>
                      <a:moveTo>
                        <a:pt x="1525" y="293"/>
                      </a:moveTo>
                      <a:lnTo>
                        <a:pt x="1512" y="297"/>
                      </a:lnTo>
                      <a:lnTo>
                        <a:pt x="1504" y="307"/>
                      </a:lnTo>
                      <a:lnTo>
                        <a:pt x="1510" y="309"/>
                      </a:lnTo>
                      <a:lnTo>
                        <a:pt x="1514" y="305"/>
                      </a:lnTo>
                      <a:lnTo>
                        <a:pt x="1525" y="309"/>
                      </a:lnTo>
                      <a:lnTo>
                        <a:pt x="1531" y="303"/>
                      </a:lnTo>
                      <a:lnTo>
                        <a:pt x="1529" y="295"/>
                      </a:lnTo>
                      <a:lnTo>
                        <a:pt x="1525" y="293"/>
                      </a:lnTo>
                      <a:close/>
                      <a:moveTo>
                        <a:pt x="1587" y="268"/>
                      </a:moveTo>
                      <a:lnTo>
                        <a:pt x="1577" y="270"/>
                      </a:lnTo>
                      <a:lnTo>
                        <a:pt x="1577" y="274"/>
                      </a:lnTo>
                      <a:lnTo>
                        <a:pt x="1602" y="276"/>
                      </a:lnTo>
                      <a:lnTo>
                        <a:pt x="1598" y="270"/>
                      </a:lnTo>
                      <a:lnTo>
                        <a:pt x="1596" y="265"/>
                      </a:lnTo>
                      <a:lnTo>
                        <a:pt x="1591" y="263"/>
                      </a:lnTo>
                      <a:lnTo>
                        <a:pt x="1587" y="268"/>
                      </a:lnTo>
                      <a:close/>
                      <a:moveTo>
                        <a:pt x="1502" y="230"/>
                      </a:moveTo>
                      <a:lnTo>
                        <a:pt x="1495" y="226"/>
                      </a:lnTo>
                      <a:lnTo>
                        <a:pt x="1489" y="228"/>
                      </a:lnTo>
                      <a:lnTo>
                        <a:pt x="1497" y="238"/>
                      </a:lnTo>
                      <a:lnTo>
                        <a:pt x="1502" y="230"/>
                      </a:lnTo>
                      <a:close/>
                      <a:moveTo>
                        <a:pt x="1516" y="119"/>
                      </a:moveTo>
                      <a:lnTo>
                        <a:pt x="1506" y="119"/>
                      </a:lnTo>
                      <a:lnTo>
                        <a:pt x="1500" y="124"/>
                      </a:lnTo>
                      <a:lnTo>
                        <a:pt x="1489" y="126"/>
                      </a:lnTo>
                      <a:lnTo>
                        <a:pt x="1487" y="132"/>
                      </a:lnTo>
                      <a:lnTo>
                        <a:pt x="1483" y="138"/>
                      </a:lnTo>
                      <a:lnTo>
                        <a:pt x="1477" y="138"/>
                      </a:lnTo>
                      <a:lnTo>
                        <a:pt x="1479" y="151"/>
                      </a:lnTo>
                      <a:lnTo>
                        <a:pt x="1479" y="174"/>
                      </a:lnTo>
                      <a:lnTo>
                        <a:pt x="1475" y="178"/>
                      </a:lnTo>
                      <a:lnTo>
                        <a:pt x="1475" y="211"/>
                      </a:lnTo>
                      <a:lnTo>
                        <a:pt x="1485" y="222"/>
                      </a:lnTo>
                      <a:lnTo>
                        <a:pt x="1502" y="211"/>
                      </a:lnTo>
                      <a:lnTo>
                        <a:pt x="1508" y="217"/>
                      </a:lnTo>
                      <a:lnTo>
                        <a:pt x="1510" y="230"/>
                      </a:lnTo>
                      <a:lnTo>
                        <a:pt x="1518" y="240"/>
                      </a:lnTo>
                      <a:lnTo>
                        <a:pt x="1537" y="236"/>
                      </a:lnTo>
                      <a:lnTo>
                        <a:pt x="1541" y="232"/>
                      </a:lnTo>
                      <a:lnTo>
                        <a:pt x="1548" y="232"/>
                      </a:lnTo>
                      <a:lnTo>
                        <a:pt x="1552" y="228"/>
                      </a:lnTo>
                      <a:lnTo>
                        <a:pt x="1566" y="228"/>
                      </a:lnTo>
                      <a:lnTo>
                        <a:pt x="1569" y="220"/>
                      </a:lnTo>
                      <a:lnTo>
                        <a:pt x="1575" y="220"/>
                      </a:lnTo>
                      <a:lnTo>
                        <a:pt x="1577" y="236"/>
                      </a:lnTo>
                      <a:lnTo>
                        <a:pt x="1587" y="247"/>
                      </a:lnTo>
                      <a:lnTo>
                        <a:pt x="1589" y="253"/>
                      </a:lnTo>
                      <a:lnTo>
                        <a:pt x="1598" y="251"/>
                      </a:lnTo>
                      <a:lnTo>
                        <a:pt x="1612" y="259"/>
                      </a:lnTo>
                      <a:lnTo>
                        <a:pt x="1625" y="245"/>
                      </a:lnTo>
                      <a:lnTo>
                        <a:pt x="1621" y="238"/>
                      </a:lnTo>
                      <a:lnTo>
                        <a:pt x="1614" y="238"/>
                      </a:lnTo>
                      <a:lnTo>
                        <a:pt x="1612" y="220"/>
                      </a:lnTo>
                      <a:lnTo>
                        <a:pt x="1615" y="218"/>
                      </a:lnTo>
                      <a:lnTo>
                        <a:pt x="1623" y="217"/>
                      </a:lnTo>
                      <a:lnTo>
                        <a:pt x="1623" y="207"/>
                      </a:lnTo>
                      <a:lnTo>
                        <a:pt x="1617" y="203"/>
                      </a:lnTo>
                      <a:lnTo>
                        <a:pt x="1612" y="209"/>
                      </a:lnTo>
                      <a:lnTo>
                        <a:pt x="1608" y="205"/>
                      </a:lnTo>
                      <a:lnTo>
                        <a:pt x="1600" y="217"/>
                      </a:lnTo>
                      <a:lnTo>
                        <a:pt x="1589" y="217"/>
                      </a:lnTo>
                      <a:lnTo>
                        <a:pt x="1589" y="211"/>
                      </a:lnTo>
                      <a:lnTo>
                        <a:pt x="1594" y="203"/>
                      </a:lnTo>
                      <a:lnTo>
                        <a:pt x="1594" y="194"/>
                      </a:lnTo>
                      <a:lnTo>
                        <a:pt x="1587" y="190"/>
                      </a:lnTo>
                      <a:lnTo>
                        <a:pt x="1579" y="201"/>
                      </a:lnTo>
                      <a:lnTo>
                        <a:pt x="1573" y="195"/>
                      </a:lnTo>
                      <a:lnTo>
                        <a:pt x="1568" y="197"/>
                      </a:lnTo>
                      <a:lnTo>
                        <a:pt x="1564" y="194"/>
                      </a:lnTo>
                      <a:lnTo>
                        <a:pt x="1558" y="194"/>
                      </a:lnTo>
                      <a:lnTo>
                        <a:pt x="1556" y="197"/>
                      </a:lnTo>
                      <a:lnTo>
                        <a:pt x="1543" y="197"/>
                      </a:lnTo>
                      <a:lnTo>
                        <a:pt x="1546" y="188"/>
                      </a:lnTo>
                      <a:lnTo>
                        <a:pt x="1554" y="182"/>
                      </a:lnTo>
                      <a:lnTo>
                        <a:pt x="1554" y="172"/>
                      </a:lnTo>
                      <a:lnTo>
                        <a:pt x="1562" y="174"/>
                      </a:lnTo>
                      <a:lnTo>
                        <a:pt x="1568" y="178"/>
                      </a:lnTo>
                      <a:lnTo>
                        <a:pt x="1568" y="169"/>
                      </a:lnTo>
                      <a:lnTo>
                        <a:pt x="1569" y="161"/>
                      </a:lnTo>
                      <a:lnTo>
                        <a:pt x="1560" y="153"/>
                      </a:lnTo>
                      <a:lnTo>
                        <a:pt x="1554" y="151"/>
                      </a:lnTo>
                      <a:lnTo>
                        <a:pt x="1554" y="138"/>
                      </a:lnTo>
                      <a:lnTo>
                        <a:pt x="1546" y="138"/>
                      </a:lnTo>
                      <a:lnTo>
                        <a:pt x="1531" y="126"/>
                      </a:lnTo>
                      <a:lnTo>
                        <a:pt x="1523" y="123"/>
                      </a:lnTo>
                      <a:lnTo>
                        <a:pt x="1516" y="119"/>
                      </a:lnTo>
                      <a:close/>
                      <a:moveTo>
                        <a:pt x="1579" y="151"/>
                      </a:moveTo>
                      <a:lnTo>
                        <a:pt x="1571" y="155"/>
                      </a:lnTo>
                      <a:lnTo>
                        <a:pt x="1577" y="159"/>
                      </a:lnTo>
                      <a:lnTo>
                        <a:pt x="1581" y="157"/>
                      </a:lnTo>
                      <a:lnTo>
                        <a:pt x="1579" y="151"/>
                      </a:lnTo>
                      <a:close/>
                      <a:moveTo>
                        <a:pt x="1598" y="165"/>
                      </a:moveTo>
                      <a:lnTo>
                        <a:pt x="1594" y="159"/>
                      </a:lnTo>
                      <a:lnTo>
                        <a:pt x="1587" y="176"/>
                      </a:lnTo>
                      <a:lnTo>
                        <a:pt x="1589" y="180"/>
                      </a:lnTo>
                      <a:lnTo>
                        <a:pt x="1604" y="180"/>
                      </a:lnTo>
                      <a:lnTo>
                        <a:pt x="1610" y="188"/>
                      </a:lnTo>
                      <a:lnTo>
                        <a:pt x="1621" y="184"/>
                      </a:lnTo>
                      <a:lnTo>
                        <a:pt x="1619" y="180"/>
                      </a:lnTo>
                      <a:lnTo>
                        <a:pt x="1617" y="167"/>
                      </a:lnTo>
                      <a:lnTo>
                        <a:pt x="1623" y="161"/>
                      </a:lnTo>
                      <a:lnTo>
                        <a:pt x="1619" y="155"/>
                      </a:lnTo>
                      <a:lnTo>
                        <a:pt x="1610" y="161"/>
                      </a:lnTo>
                      <a:lnTo>
                        <a:pt x="1598" y="165"/>
                      </a:lnTo>
                      <a:close/>
                      <a:moveTo>
                        <a:pt x="1581" y="13"/>
                      </a:moveTo>
                      <a:lnTo>
                        <a:pt x="1575" y="23"/>
                      </a:lnTo>
                      <a:lnTo>
                        <a:pt x="1569" y="32"/>
                      </a:lnTo>
                      <a:lnTo>
                        <a:pt x="1560" y="29"/>
                      </a:lnTo>
                      <a:lnTo>
                        <a:pt x="1552" y="30"/>
                      </a:lnTo>
                      <a:lnTo>
                        <a:pt x="1564" y="42"/>
                      </a:lnTo>
                      <a:lnTo>
                        <a:pt x="1566" y="55"/>
                      </a:lnTo>
                      <a:lnTo>
                        <a:pt x="1577" y="63"/>
                      </a:lnTo>
                      <a:lnTo>
                        <a:pt x="1583" y="59"/>
                      </a:lnTo>
                      <a:lnTo>
                        <a:pt x="1583" y="48"/>
                      </a:lnTo>
                      <a:lnTo>
                        <a:pt x="1591" y="53"/>
                      </a:lnTo>
                      <a:lnTo>
                        <a:pt x="1600" y="67"/>
                      </a:lnTo>
                      <a:lnTo>
                        <a:pt x="1602" y="82"/>
                      </a:lnTo>
                      <a:lnTo>
                        <a:pt x="1606" y="84"/>
                      </a:lnTo>
                      <a:lnTo>
                        <a:pt x="1606" y="73"/>
                      </a:lnTo>
                      <a:lnTo>
                        <a:pt x="1612" y="69"/>
                      </a:lnTo>
                      <a:lnTo>
                        <a:pt x="1606" y="59"/>
                      </a:lnTo>
                      <a:lnTo>
                        <a:pt x="1600" y="55"/>
                      </a:lnTo>
                      <a:lnTo>
                        <a:pt x="1600" y="48"/>
                      </a:lnTo>
                      <a:lnTo>
                        <a:pt x="1594" y="42"/>
                      </a:lnTo>
                      <a:lnTo>
                        <a:pt x="1589" y="44"/>
                      </a:lnTo>
                      <a:lnTo>
                        <a:pt x="1587" y="40"/>
                      </a:lnTo>
                      <a:lnTo>
                        <a:pt x="1577" y="36"/>
                      </a:lnTo>
                      <a:lnTo>
                        <a:pt x="1577" y="30"/>
                      </a:lnTo>
                      <a:lnTo>
                        <a:pt x="1587" y="27"/>
                      </a:lnTo>
                      <a:lnTo>
                        <a:pt x="1587" y="15"/>
                      </a:lnTo>
                      <a:lnTo>
                        <a:pt x="1581" y="13"/>
                      </a:lnTo>
                      <a:close/>
                      <a:moveTo>
                        <a:pt x="1554" y="96"/>
                      </a:moveTo>
                      <a:lnTo>
                        <a:pt x="1541" y="111"/>
                      </a:lnTo>
                      <a:lnTo>
                        <a:pt x="1546" y="119"/>
                      </a:lnTo>
                      <a:lnTo>
                        <a:pt x="1550" y="126"/>
                      </a:lnTo>
                      <a:lnTo>
                        <a:pt x="1558" y="128"/>
                      </a:lnTo>
                      <a:lnTo>
                        <a:pt x="1562" y="134"/>
                      </a:lnTo>
                      <a:lnTo>
                        <a:pt x="1573" y="134"/>
                      </a:lnTo>
                      <a:lnTo>
                        <a:pt x="1581" y="128"/>
                      </a:lnTo>
                      <a:lnTo>
                        <a:pt x="1577" y="121"/>
                      </a:lnTo>
                      <a:lnTo>
                        <a:pt x="1575" y="109"/>
                      </a:lnTo>
                      <a:lnTo>
                        <a:pt x="1581" y="107"/>
                      </a:lnTo>
                      <a:lnTo>
                        <a:pt x="1579" y="101"/>
                      </a:lnTo>
                      <a:lnTo>
                        <a:pt x="1571" y="107"/>
                      </a:lnTo>
                      <a:lnTo>
                        <a:pt x="1564" y="107"/>
                      </a:lnTo>
                      <a:lnTo>
                        <a:pt x="1560" y="101"/>
                      </a:lnTo>
                      <a:lnTo>
                        <a:pt x="1554" y="96"/>
                      </a:lnTo>
                      <a:close/>
                      <a:moveTo>
                        <a:pt x="1587" y="111"/>
                      </a:moveTo>
                      <a:lnTo>
                        <a:pt x="1581" y="115"/>
                      </a:lnTo>
                      <a:lnTo>
                        <a:pt x="1587" y="126"/>
                      </a:lnTo>
                      <a:lnTo>
                        <a:pt x="1589" y="134"/>
                      </a:lnTo>
                      <a:lnTo>
                        <a:pt x="1594" y="130"/>
                      </a:lnTo>
                      <a:lnTo>
                        <a:pt x="1596" y="115"/>
                      </a:lnTo>
                      <a:lnTo>
                        <a:pt x="1591" y="111"/>
                      </a:lnTo>
                      <a:lnTo>
                        <a:pt x="1587" y="111"/>
                      </a:lnTo>
                      <a:close/>
                      <a:moveTo>
                        <a:pt x="1602" y="2"/>
                      </a:moveTo>
                      <a:lnTo>
                        <a:pt x="1598" y="13"/>
                      </a:lnTo>
                      <a:lnTo>
                        <a:pt x="1594" y="29"/>
                      </a:lnTo>
                      <a:lnTo>
                        <a:pt x="1596" y="32"/>
                      </a:lnTo>
                      <a:lnTo>
                        <a:pt x="1604" y="32"/>
                      </a:lnTo>
                      <a:lnTo>
                        <a:pt x="1606" y="19"/>
                      </a:lnTo>
                      <a:lnTo>
                        <a:pt x="1602" y="17"/>
                      </a:lnTo>
                      <a:lnTo>
                        <a:pt x="1606" y="13"/>
                      </a:lnTo>
                      <a:lnTo>
                        <a:pt x="1608" y="7"/>
                      </a:lnTo>
                      <a:lnTo>
                        <a:pt x="1602" y="2"/>
                      </a:lnTo>
                      <a:close/>
                      <a:moveTo>
                        <a:pt x="1627" y="100"/>
                      </a:moveTo>
                      <a:lnTo>
                        <a:pt x="1633" y="101"/>
                      </a:lnTo>
                      <a:lnTo>
                        <a:pt x="1639" y="119"/>
                      </a:lnTo>
                      <a:lnTo>
                        <a:pt x="1637" y="126"/>
                      </a:lnTo>
                      <a:lnTo>
                        <a:pt x="1625" y="126"/>
                      </a:lnTo>
                      <a:lnTo>
                        <a:pt x="1623" y="115"/>
                      </a:lnTo>
                      <a:lnTo>
                        <a:pt x="1615" y="109"/>
                      </a:lnTo>
                      <a:lnTo>
                        <a:pt x="1617" y="103"/>
                      </a:lnTo>
                      <a:lnTo>
                        <a:pt x="1625" y="103"/>
                      </a:lnTo>
                      <a:lnTo>
                        <a:pt x="1627" y="100"/>
                      </a:lnTo>
                      <a:close/>
                      <a:moveTo>
                        <a:pt x="1615" y="84"/>
                      </a:moveTo>
                      <a:lnTo>
                        <a:pt x="1612" y="90"/>
                      </a:lnTo>
                      <a:lnTo>
                        <a:pt x="1617" y="94"/>
                      </a:lnTo>
                      <a:lnTo>
                        <a:pt x="1615" y="84"/>
                      </a:lnTo>
                      <a:close/>
                      <a:moveTo>
                        <a:pt x="1635" y="75"/>
                      </a:moveTo>
                      <a:lnTo>
                        <a:pt x="1627" y="80"/>
                      </a:lnTo>
                      <a:lnTo>
                        <a:pt x="1629" y="94"/>
                      </a:lnTo>
                      <a:lnTo>
                        <a:pt x="1635" y="98"/>
                      </a:lnTo>
                      <a:lnTo>
                        <a:pt x="1640" y="90"/>
                      </a:lnTo>
                      <a:lnTo>
                        <a:pt x="1640" y="84"/>
                      </a:lnTo>
                      <a:lnTo>
                        <a:pt x="1635" y="82"/>
                      </a:lnTo>
                      <a:lnTo>
                        <a:pt x="1635" y="75"/>
                      </a:lnTo>
                      <a:close/>
                      <a:moveTo>
                        <a:pt x="1667" y="119"/>
                      </a:moveTo>
                      <a:lnTo>
                        <a:pt x="1654" y="123"/>
                      </a:lnTo>
                      <a:lnTo>
                        <a:pt x="1660" y="126"/>
                      </a:lnTo>
                      <a:lnTo>
                        <a:pt x="1663" y="134"/>
                      </a:lnTo>
                      <a:lnTo>
                        <a:pt x="1669" y="140"/>
                      </a:lnTo>
                      <a:lnTo>
                        <a:pt x="1663" y="142"/>
                      </a:lnTo>
                      <a:lnTo>
                        <a:pt x="1658" y="144"/>
                      </a:lnTo>
                      <a:lnTo>
                        <a:pt x="1650" y="151"/>
                      </a:lnTo>
                      <a:lnTo>
                        <a:pt x="1654" y="159"/>
                      </a:lnTo>
                      <a:lnTo>
                        <a:pt x="1662" y="161"/>
                      </a:lnTo>
                      <a:lnTo>
                        <a:pt x="1667" y="149"/>
                      </a:lnTo>
                      <a:lnTo>
                        <a:pt x="1673" y="151"/>
                      </a:lnTo>
                      <a:lnTo>
                        <a:pt x="1673" y="159"/>
                      </a:lnTo>
                      <a:lnTo>
                        <a:pt x="1690" y="159"/>
                      </a:lnTo>
                      <a:lnTo>
                        <a:pt x="1690" y="149"/>
                      </a:lnTo>
                      <a:lnTo>
                        <a:pt x="1686" y="142"/>
                      </a:lnTo>
                      <a:lnTo>
                        <a:pt x="1690" y="138"/>
                      </a:lnTo>
                      <a:lnTo>
                        <a:pt x="1677" y="140"/>
                      </a:lnTo>
                      <a:lnTo>
                        <a:pt x="1675" y="132"/>
                      </a:lnTo>
                      <a:lnTo>
                        <a:pt x="1681" y="130"/>
                      </a:lnTo>
                      <a:lnTo>
                        <a:pt x="1681" y="126"/>
                      </a:lnTo>
                      <a:lnTo>
                        <a:pt x="1669" y="126"/>
                      </a:lnTo>
                      <a:lnTo>
                        <a:pt x="1667" y="119"/>
                      </a:lnTo>
                      <a:close/>
                      <a:moveTo>
                        <a:pt x="1723" y="0"/>
                      </a:moveTo>
                      <a:lnTo>
                        <a:pt x="1715" y="15"/>
                      </a:lnTo>
                      <a:lnTo>
                        <a:pt x="1721" y="17"/>
                      </a:lnTo>
                      <a:lnTo>
                        <a:pt x="1729" y="19"/>
                      </a:lnTo>
                      <a:lnTo>
                        <a:pt x="1729" y="7"/>
                      </a:lnTo>
                      <a:lnTo>
                        <a:pt x="1736" y="4"/>
                      </a:lnTo>
                      <a:lnTo>
                        <a:pt x="1733" y="0"/>
                      </a:lnTo>
                      <a:lnTo>
                        <a:pt x="1727" y="0"/>
                      </a:lnTo>
                      <a:lnTo>
                        <a:pt x="1723" y="0"/>
                      </a:lnTo>
                      <a:close/>
                      <a:moveTo>
                        <a:pt x="1690" y="42"/>
                      </a:moveTo>
                      <a:lnTo>
                        <a:pt x="1694" y="48"/>
                      </a:lnTo>
                      <a:lnTo>
                        <a:pt x="1692" y="53"/>
                      </a:lnTo>
                      <a:lnTo>
                        <a:pt x="1685" y="59"/>
                      </a:lnTo>
                      <a:lnTo>
                        <a:pt x="1685" y="67"/>
                      </a:lnTo>
                      <a:lnTo>
                        <a:pt x="1690" y="67"/>
                      </a:lnTo>
                      <a:lnTo>
                        <a:pt x="1692" y="63"/>
                      </a:lnTo>
                      <a:lnTo>
                        <a:pt x="1704" y="52"/>
                      </a:lnTo>
                      <a:lnTo>
                        <a:pt x="1711" y="50"/>
                      </a:lnTo>
                      <a:lnTo>
                        <a:pt x="1721" y="40"/>
                      </a:lnTo>
                      <a:lnTo>
                        <a:pt x="1725" y="53"/>
                      </a:lnTo>
                      <a:lnTo>
                        <a:pt x="1729" y="57"/>
                      </a:lnTo>
                      <a:lnTo>
                        <a:pt x="1721" y="59"/>
                      </a:lnTo>
                      <a:lnTo>
                        <a:pt x="1715" y="55"/>
                      </a:lnTo>
                      <a:lnTo>
                        <a:pt x="1708" y="61"/>
                      </a:lnTo>
                      <a:lnTo>
                        <a:pt x="1698" y="71"/>
                      </a:lnTo>
                      <a:lnTo>
                        <a:pt x="1702" y="86"/>
                      </a:lnTo>
                      <a:lnTo>
                        <a:pt x="1694" y="80"/>
                      </a:lnTo>
                      <a:lnTo>
                        <a:pt x="1685" y="80"/>
                      </a:lnTo>
                      <a:lnTo>
                        <a:pt x="1685" y="88"/>
                      </a:lnTo>
                      <a:lnTo>
                        <a:pt x="1681" y="88"/>
                      </a:lnTo>
                      <a:lnTo>
                        <a:pt x="1679" y="80"/>
                      </a:lnTo>
                      <a:lnTo>
                        <a:pt x="1671" y="82"/>
                      </a:lnTo>
                      <a:lnTo>
                        <a:pt x="1662" y="92"/>
                      </a:lnTo>
                      <a:lnTo>
                        <a:pt x="1654" y="105"/>
                      </a:lnTo>
                      <a:lnTo>
                        <a:pt x="1648" y="96"/>
                      </a:lnTo>
                      <a:lnTo>
                        <a:pt x="1656" y="82"/>
                      </a:lnTo>
                      <a:lnTo>
                        <a:pt x="1660" y="75"/>
                      </a:lnTo>
                      <a:lnTo>
                        <a:pt x="1669" y="69"/>
                      </a:lnTo>
                      <a:lnTo>
                        <a:pt x="1675" y="63"/>
                      </a:lnTo>
                      <a:lnTo>
                        <a:pt x="1675" y="57"/>
                      </a:lnTo>
                      <a:lnTo>
                        <a:pt x="1669" y="55"/>
                      </a:lnTo>
                      <a:lnTo>
                        <a:pt x="1671" y="50"/>
                      </a:lnTo>
                      <a:lnTo>
                        <a:pt x="1679" y="50"/>
                      </a:lnTo>
                      <a:lnTo>
                        <a:pt x="1685" y="42"/>
                      </a:lnTo>
                      <a:lnTo>
                        <a:pt x="1690" y="42"/>
                      </a:lnTo>
                      <a:close/>
                      <a:moveTo>
                        <a:pt x="1646" y="215"/>
                      </a:moveTo>
                      <a:lnTo>
                        <a:pt x="1619" y="226"/>
                      </a:lnTo>
                      <a:lnTo>
                        <a:pt x="1627" y="240"/>
                      </a:lnTo>
                      <a:lnTo>
                        <a:pt x="1646" y="240"/>
                      </a:lnTo>
                      <a:lnTo>
                        <a:pt x="1646" y="215"/>
                      </a:lnTo>
                      <a:close/>
                      <a:moveTo>
                        <a:pt x="692" y="1207"/>
                      </a:moveTo>
                      <a:lnTo>
                        <a:pt x="689" y="1212"/>
                      </a:lnTo>
                      <a:lnTo>
                        <a:pt x="689" y="1220"/>
                      </a:lnTo>
                      <a:lnTo>
                        <a:pt x="675" y="1220"/>
                      </a:lnTo>
                      <a:lnTo>
                        <a:pt x="671" y="1232"/>
                      </a:lnTo>
                      <a:lnTo>
                        <a:pt x="683" y="1245"/>
                      </a:lnTo>
                      <a:lnTo>
                        <a:pt x="692" y="1243"/>
                      </a:lnTo>
                      <a:lnTo>
                        <a:pt x="702" y="1235"/>
                      </a:lnTo>
                      <a:lnTo>
                        <a:pt x="700" y="1212"/>
                      </a:lnTo>
                      <a:lnTo>
                        <a:pt x="692" y="1207"/>
                      </a:lnTo>
                      <a:close/>
                      <a:moveTo>
                        <a:pt x="608" y="1170"/>
                      </a:moveTo>
                      <a:lnTo>
                        <a:pt x="619" y="1180"/>
                      </a:lnTo>
                      <a:lnTo>
                        <a:pt x="627" y="1193"/>
                      </a:lnTo>
                      <a:lnTo>
                        <a:pt x="633" y="1201"/>
                      </a:lnTo>
                      <a:lnTo>
                        <a:pt x="644" y="1208"/>
                      </a:lnTo>
                      <a:lnTo>
                        <a:pt x="664" y="1197"/>
                      </a:lnTo>
                      <a:lnTo>
                        <a:pt x="664" y="1182"/>
                      </a:lnTo>
                      <a:lnTo>
                        <a:pt x="669" y="1172"/>
                      </a:lnTo>
                      <a:lnTo>
                        <a:pt x="660" y="1170"/>
                      </a:lnTo>
                      <a:lnTo>
                        <a:pt x="664" y="1162"/>
                      </a:lnTo>
                      <a:lnTo>
                        <a:pt x="654" y="1153"/>
                      </a:lnTo>
                      <a:lnTo>
                        <a:pt x="644" y="1149"/>
                      </a:lnTo>
                      <a:lnTo>
                        <a:pt x="633" y="1149"/>
                      </a:lnTo>
                      <a:lnTo>
                        <a:pt x="608" y="1170"/>
                      </a:lnTo>
                      <a:close/>
                      <a:moveTo>
                        <a:pt x="604" y="1136"/>
                      </a:moveTo>
                      <a:lnTo>
                        <a:pt x="587" y="1138"/>
                      </a:lnTo>
                      <a:lnTo>
                        <a:pt x="587" y="1145"/>
                      </a:lnTo>
                      <a:lnTo>
                        <a:pt x="600" y="1147"/>
                      </a:lnTo>
                      <a:lnTo>
                        <a:pt x="606" y="1141"/>
                      </a:lnTo>
                      <a:lnTo>
                        <a:pt x="604" y="1136"/>
                      </a:lnTo>
                      <a:close/>
                      <a:moveTo>
                        <a:pt x="575" y="1138"/>
                      </a:moveTo>
                      <a:lnTo>
                        <a:pt x="570" y="1143"/>
                      </a:lnTo>
                      <a:lnTo>
                        <a:pt x="570" y="1151"/>
                      </a:lnTo>
                      <a:lnTo>
                        <a:pt x="583" y="1149"/>
                      </a:lnTo>
                      <a:lnTo>
                        <a:pt x="583" y="1136"/>
                      </a:lnTo>
                      <a:lnTo>
                        <a:pt x="575" y="1138"/>
                      </a:lnTo>
                      <a:close/>
                      <a:moveTo>
                        <a:pt x="813" y="1047"/>
                      </a:moveTo>
                      <a:lnTo>
                        <a:pt x="815" y="1055"/>
                      </a:lnTo>
                      <a:lnTo>
                        <a:pt x="831" y="1055"/>
                      </a:lnTo>
                      <a:lnTo>
                        <a:pt x="834" y="1061"/>
                      </a:lnTo>
                      <a:lnTo>
                        <a:pt x="829" y="1074"/>
                      </a:lnTo>
                      <a:lnTo>
                        <a:pt x="823" y="1086"/>
                      </a:lnTo>
                      <a:lnTo>
                        <a:pt x="815" y="1090"/>
                      </a:lnTo>
                      <a:lnTo>
                        <a:pt x="811" y="1095"/>
                      </a:lnTo>
                      <a:lnTo>
                        <a:pt x="806" y="1097"/>
                      </a:lnTo>
                      <a:lnTo>
                        <a:pt x="798" y="1105"/>
                      </a:lnTo>
                      <a:lnTo>
                        <a:pt x="796" y="1114"/>
                      </a:lnTo>
                      <a:lnTo>
                        <a:pt x="783" y="1128"/>
                      </a:lnTo>
                      <a:lnTo>
                        <a:pt x="775" y="1128"/>
                      </a:lnTo>
                      <a:lnTo>
                        <a:pt x="767" y="1139"/>
                      </a:lnTo>
                      <a:lnTo>
                        <a:pt x="761" y="1153"/>
                      </a:lnTo>
                      <a:lnTo>
                        <a:pt x="752" y="1164"/>
                      </a:lnTo>
                      <a:lnTo>
                        <a:pt x="738" y="1164"/>
                      </a:lnTo>
                      <a:lnTo>
                        <a:pt x="733" y="1170"/>
                      </a:lnTo>
                      <a:lnTo>
                        <a:pt x="727" y="1170"/>
                      </a:lnTo>
                      <a:lnTo>
                        <a:pt x="727" y="1162"/>
                      </a:lnTo>
                      <a:lnTo>
                        <a:pt x="723" y="1159"/>
                      </a:lnTo>
                      <a:lnTo>
                        <a:pt x="725" y="1151"/>
                      </a:lnTo>
                      <a:lnTo>
                        <a:pt x="731" y="1143"/>
                      </a:lnTo>
                      <a:lnTo>
                        <a:pt x="731" y="1136"/>
                      </a:lnTo>
                      <a:lnTo>
                        <a:pt x="740" y="1124"/>
                      </a:lnTo>
                      <a:lnTo>
                        <a:pt x="735" y="1118"/>
                      </a:lnTo>
                      <a:lnTo>
                        <a:pt x="748" y="1107"/>
                      </a:lnTo>
                      <a:lnTo>
                        <a:pt x="765" y="1093"/>
                      </a:lnTo>
                      <a:lnTo>
                        <a:pt x="765" y="1090"/>
                      </a:lnTo>
                      <a:lnTo>
                        <a:pt x="758" y="1093"/>
                      </a:lnTo>
                      <a:lnTo>
                        <a:pt x="740" y="1097"/>
                      </a:lnTo>
                      <a:lnTo>
                        <a:pt x="738" y="1082"/>
                      </a:lnTo>
                      <a:lnTo>
                        <a:pt x="733" y="1072"/>
                      </a:lnTo>
                      <a:lnTo>
                        <a:pt x="731" y="1086"/>
                      </a:lnTo>
                      <a:lnTo>
                        <a:pt x="715" y="1109"/>
                      </a:lnTo>
                      <a:lnTo>
                        <a:pt x="714" y="1114"/>
                      </a:lnTo>
                      <a:lnTo>
                        <a:pt x="708" y="1113"/>
                      </a:lnTo>
                      <a:lnTo>
                        <a:pt x="708" y="1086"/>
                      </a:lnTo>
                      <a:lnTo>
                        <a:pt x="696" y="1080"/>
                      </a:lnTo>
                      <a:lnTo>
                        <a:pt x="692" y="1090"/>
                      </a:lnTo>
                      <a:lnTo>
                        <a:pt x="667" y="1090"/>
                      </a:lnTo>
                      <a:lnTo>
                        <a:pt x="662" y="1095"/>
                      </a:lnTo>
                      <a:lnTo>
                        <a:pt x="652" y="1095"/>
                      </a:lnTo>
                      <a:lnTo>
                        <a:pt x="650" y="1090"/>
                      </a:lnTo>
                      <a:lnTo>
                        <a:pt x="666" y="1080"/>
                      </a:lnTo>
                      <a:lnTo>
                        <a:pt x="662" y="1074"/>
                      </a:lnTo>
                      <a:lnTo>
                        <a:pt x="648" y="1084"/>
                      </a:lnTo>
                      <a:lnTo>
                        <a:pt x="639" y="1067"/>
                      </a:lnTo>
                      <a:lnTo>
                        <a:pt x="650" y="1049"/>
                      </a:lnTo>
                      <a:lnTo>
                        <a:pt x="631" y="1059"/>
                      </a:lnTo>
                      <a:lnTo>
                        <a:pt x="612" y="1022"/>
                      </a:lnTo>
                      <a:lnTo>
                        <a:pt x="629" y="1007"/>
                      </a:lnTo>
                      <a:lnTo>
                        <a:pt x="650" y="1024"/>
                      </a:lnTo>
                      <a:lnTo>
                        <a:pt x="650" y="1019"/>
                      </a:lnTo>
                      <a:lnTo>
                        <a:pt x="637" y="1005"/>
                      </a:lnTo>
                      <a:lnTo>
                        <a:pt x="637" y="996"/>
                      </a:lnTo>
                      <a:lnTo>
                        <a:pt x="629" y="996"/>
                      </a:lnTo>
                      <a:lnTo>
                        <a:pt x="621" y="999"/>
                      </a:lnTo>
                      <a:lnTo>
                        <a:pt x="614" y="982"/>
                      </a:lnTo>
                      <a:lnTo>
                        <a:pt x="606" y="982"/>
                      </a:lnTo>
                      <a:lnTo>
                        <a:pt x="600" y="973"/>
                      </a:lnTo>
                      <a:lnTo>
                        <a:pt x="593" y="976"/>
                      </a:lnTo>
                      <a:lnTo>
                        <a:pt x="593" y="996"/>
                      </a:lnTo>
                      <a:lnTo>
                        <a:pt x="591" y="1001"/>
                      </a:lnTo>
                      <a:lnTo>
                        <a:pt x="585" y="1003"/>
                      </a:lnTo>
                      <a:lnTo>
                        <a:pt x="579" y="997"/>
                      </a:lnTo>
                      <a:lnTo>
                        <a:pt x="554" y="982"/>
                      </a:lnTo>
                      <a:lnTo>
                        <a:pt x="545" y="973"/>
                      </a:lnTo>
                      <a:lnTo>
                        <a:pt x="545" y="963"/>
                      </a:lnTo>
                      <a:lnTo>
                        <a:pt x="537" y="953"/>
                      </a:lnTo>
                      <a:lnTo>
                        <a:pt x="533" y="938"/>
                      </a:lnTo>
                      <a:lnTo>
                        <a:pt x="543" y="938"/>
                      </a:lnTo>
                      <a:lnTo>
                        <a:pt x="552" y="942"/>
                      </a:lnTo>
                      <a:lnTo>
                        <a:pt x="545" y="934"/>
                      </a:lnTo>
                      <a:lnTo>
                        <a:pt x="545" y="919"/>
                      </a:lnTo>
                      <a:lnTo>
                        <a:pt x="554" y="911"/>
                      </a:lnTo>
                      <a:lnTo>
                        <a:pt x="570" y="934"/>
                      </a:lnTo>
                      <a:lnTo>
                        <a:pt x="573" y="946"/>
                      </a:lnTo>
                      <a:lnTo>
                        <a:pt x="581" y="951"/>
                      </a:lnTo>
                      <a:lnTo>
                        <a:pt x="587" y="955"/>
                      </a:lnTo>
                      <a:lnTo>
                        <a:pt x="591" y="948"/>
                      </a:lnTo>
                      <a:lnTo>
                        <a:pt x="579" y="936"/>
                      </a:lnTo>
                      <a:lnTo>
                        <a:pt x="577" y="917"/>
                      </a:lnTo>
                      <a:lnTo>
                        <a:pt x="583" y="915"/>
                      </a:lnTo>
                      <a:lnTo>
                        <a:pt x="595" y="923"/>
                      </a:lnTo>
                      <a:lnTo>
                        <a:pt x="598" y="921"/>
                      </a:lnTo>
                      <a:lnTo>
                        <a:pt x="596" y="911"/>
                      </a:lnTo>
                      <a:lnTo>
                        <a:pt x="577" y="894"/>
                      </a:lnTo>
                      <a:lnTo>
                        <a:pt x="581" y="867"/>
                      </a:lnTo>
                      <a:lnTo>
                        <a:pt x="596" y="878"/>
                      </a:lnTo>
                      <a:lnTo>
                        <a:pt x="596" y="896"/>
                      </a:lnTo>
                      <a:lnTo>
                        <a:pt x="608" y="898"/>
                      </a:lnTo>
                      <a:lnTo>
                        <a:pt x="619" y="913"/>
                      </a:lnTo>
                      <a:lnTo>
                        <a:pt x="625" y="917"/>
                      </a:lnTo>
                      <a:lnTo>
                        <a:pt x="633" y="915"/>
                      </a:lnTo>
                      <a:lnTo>
                        <a:pt x="635" y="919"/>
                      </a:lnTo>
                      <a:lnTo>
                        <a:pt x="625" y="930"/>
                      </a:lnTo>
                      <a:lnTo>
                        <a:pt x="625" y="936"/>
                      </a:lnTo>
                      <a:lnTo>
                        <a:pt x="642" y="913"/>
                      </a:lnTo>
                      <a:lnTo>
                        <a:pt x="656" y="928"/>
                      </a:lnTo>
                      <a:lnTo>
                        <a:pt x="662" y="928"/>
                      </a:lnTo>
                      <a:lnTo>
                        <a:pt x="646" y="909"/>
                      </a:lnTo>
                      <a:lnTo>
                        <a:pt x="642" y="892"/>
                      </a:lnTo>
                      <a:lnTo>
                        <a:pt x="650" y="892"/>
                      </a:lnTo>
                      <a:lnTo>
                        <a:pt x="648" y="882"/>
                      </a:lnTo>
                      <a:lnTo>
                        <a:pt x="644" y="877"/>
                      </a:lnTo>
                      <a:lnTo>
                        <a:pt x="644" y="863"/>
                      </a:lnTo>
                      <a:lnTo>
                        <a:pt x="639" y="859"/>
                      </a:lnTo>
                      <a:lnTo>
                        <a:pt x="641" y="844"/>
                      </a:lnTo>
                      <a:lnTo>
                        <a:pt x="671" y="827"/>
                      </a:lnTo>
                      <a:lnTo>
                        <a:pt x="689" y="842"/>
                      </a:lnTo>
                      <a:lnTo>
                        <a:pt x="689" y="855"/>
                      </a:lnTo>
                      <a:lnTo>
                        <a:pt x="696" y="859"/>
                      </a:lnTo>
                      <a:lnTo>
                        <a:pt x="712" y="880"/>
                      </a:lnTo>
                      <a:lnTo>
                        <a:pt x="708" y="961"/>
                      </a:lnTo>
                      <a:lnTo>
                        <a:pt x="690" y="976"/>
                      </a:lnTo>
                      <a:lnTo>
                        <a:pt x="690" y="984"/>
                      </a:lnTo>
                      <a:lnTo>
                        <a:pt x="698" y="976"/>
                      </a:lnTo>
                      <a:lnTo>
                        <a:pt x="706" y="976"/>
                      </a:lnTo>
                      <a:lnTo>
                        <a:pt x="710" y="986"/>
                      </a:lnTo>
                      <a:lnTo>
                        <a:pt x="710" y="996"/>
                      </a:lnTo>
                      <a:lnTo>
                        <a:pt x="715" y="1009"/>
                      </a:lnTo>
                      <a:lnTo>
                        <a:pt x="715" y="1022"/>
                      </a:lnTo>
                      <a:lnTo>
                        <a:pt x="725" y="1024"/>
                      </a:lnTo>
                      <a:lnTo>
                        <a:pt x="729" y="1034"/>
                      </a:lnTo>
                      <a:lnTo>
                        <a:pt x="721" y="1043"/>
                      </a:lnTo>
                      <a:lnTo>
                        <a:pt x="735" y="1040"/>
                      </a:lnTo>
                      <a:lnTo>
                        <a:pt x="746" y="1047"/>
                      </a:lnTo>
                      <a:lnTo>
                        <a:pt x="758" y="1047"/>
                      </a:lnTo>
                      <a:lnTo>
                        <a:pt x="765" y="1053"/>
                      </a:lnTo>
                      <a:lnTo>
                        <a:pt x="763" y="1063"/>
                      </a:lnTo>
                      <a:lnTo>
                        <a:pt x="781" y="1059"/>
                      </a:lnTo>
                      <a:lnTo>
                        <a:pt x="804" y="1049"/>
                      </a:lnTo>
                      <a:lnTo>
                        <a:pt x="809" y="1047"/>
                      </a:lnTo>
                      <a:lnTo>
                        <a:pt x="813" y="1047"/>
                      </a:lnTo>
                      <a:close/>
                      <a:moveTo>
                        <a:pt x="685" y="1097"/>
                      </a:moveTo>
                      <a:lnTo>
                        <a:pt x="675" y="1097"/>
                      </a:lnTo>
                      <a:lnTo>
                        <a:pt x="667" y="1105"/>
                      </a:lnTo>
                      <a:lnTo>
                        <a:pt x="673" y="1113"/>
                      </a:lnTo>
                      <a:lnTo>
                        <a:pt x="681" y="1111"/>
                      </a:lnTo>
                      <a:lnTo>
                        <a:pt x="685" y="1105"/>
                      </a:lnTo>
                      <a:lnTo>
                        <a:pt x="685" y="1097"/>
                      </a:lnTo>
                      <a:close/>
                      <a:moveTo>
                        <a:pt x="735" y="1020"/>
                      </a:moveTo>
                      <a:lnTo>
                        <a:pt x="735" y="1032"/>
                      </a:lnTo>
                      <a:lnTo>
                        <a:pt x="744" y="1043"/>
                      </a:lnTo>
                      <a:lnTo>
                        <a:pt x="758" y="1042"/>
                      </a:lnTo>
                      <a:lnTo>
                        <a:pt x="761" y="1038"/>
                      </a:lnTo>
                      <a:lnTo>
                        <a:pt x="761" y="1028"/>
                      </a:lnTo>
                      <a:lnTo>
                        <a:pt x="752" y="1019"/>
                      </a:lnTo>
                      <a:lnTo>
                        <a:pt x="735" y="1020"/>
                      </a:lnTo>
                      <a:close/>
                      <a:moveTo>
                        <a:pt x="750" y="928"/>
                      </a:moveTo>
                      <a:lnTo>
                        <a:pt x="752" y="944"/>
                      </a:lnTo>
                      <a:lnTo>
                        <a:pt x="742" y="951"/>
                      </a:lnTo>
                      <a:lnTo>
                        <a:pt x="738" y="961"/>
                      </a:lnTo>
                      <a:lnTo>
                        <a:pt x="733" y="969"/>
                      </a:lnTo>
                      <a:lnTo>
                        <a:pt x="742" y="992"/>
                      </a:lnTo>
                      <a:lnTo>
                        <a:pt x="742" y="1003"/>
                      </a:lnTo>
                      <a:lnTo>
                        <a:pt x="733" y="1015"/>
                      </a:lnTo>
                      <a:lnTo>
                        <a:pt x="727" y="1015"/>
                      </a:lnTo>
                      <a:lnTo>
                        <a:pt x="721" y="1009"/>
                      </a:lnTo>
                      <a:lnTo>
                        <a:pt x="721" y="997"/>
                      </a:lnTo>
                      <a:lnTo>
                        <a:pt x="719" y="965"/>
                      </a:lnTo>
                      <a:lnTo>
                        <a:pt x="723" y="955"/>
                      </a:lnTo>
                      <a:lnTo>
                        <a:pt x="729" y="949"/>
                      </a:lnTo>
                      <a:lnTo>
                        <a:pt x="738" y="948"/>
                      </a:lnTo>
                      <a:lnTo>
                        <a:pt x="738" y="940"/>
                      </a:lnTo>
                      <a:lnTo>
                        <a:pt x="750" y="928"/>
                      </a:lnTo>
                      <a:close/>
                      <a:moveTo>
                        <a:pt x="760" y="890"/>
                      </a:moveTo>
                      <a:lnTo>
                        <a:pt x="752" y="921"/>
                      </a:lnTo>
                      <a:lnTo>
                        <a:pt x="746" y="919"/>
                      </a:lnTo>
                      <a:lnTo>
                        <a:pt x="746" y="907"/>
                      </a:lnTo>
                      <a:lnTo>
                        <a:pt x="752" y="905"/>
                      </a:lnTo>
                      <a:lnTo>
                        <a:pt x="750" y="894"/>
                      </a:lnTo>
                      <a:lnTo>
                        <a:pt x="760" y="890"/>
                      </a:lnTo>
                      <a:close/>
                      <a:moveTo>
                        <a:pt x="894" y="698"/>
                      </a:moveTo>
                      <a:lnTo>
                        <a:pt x="886" y="702"/>
                      </a:lnTo>
                      <a:lnTo>
                        <a:pt x="886" y="712"/>
                      </a:lnTo>
                      <a:lnTo>
                        <a:pt x="894" y="710"/>
                      </a:lnTo>
                      <a:lnTo>
                        <a:pt x="894" y="698"/>
                      </a:lnTo>
                      <a:close/>
                      <a:moveTo>
                        <a:pt x="900" y="733"/>
                      </a:moveTo>
                      <a:lnTo>
                        <a:pt x="896" y="738"/>
                      </a:lnTo>
                      <a:lnTo>
                        <a:pt x="896" y="748"/>
                      </a:lnTo>
                      <a:lnTo>
                        <a:pt x="902" y="748"/>
                      </a:lnTo>
                      <a:lnTo>
                        <a:pt x="905" y="738"/>
                      </a:lnTo>
                      <a:lnTo>
                        <a:pt x="900" y="733"/>
                      </a:lnTo>
                      <a:close/>
                      <a:moveTo>
                        <a:pt x="919" y="673"/>
                      </a:moveTo>
                      <a:lnTo>
                        <a:pt x="913" y="679"/>
                      </a:lnTo>
                      <a:lnTo>
                        <a:pt x="913" y="685"/>
                      </a:lnTo>
                      <a:lnTo>
                        <a:pt x="919" y="685"/>
                      </a:lnTo>
                      <a:lnTo>
                        <a:pt x="927" y="683"/>
                      </a:lnTo>
                      <a:lnTo>
                        <a:pt x="919" y="673"/>
                      </a:lnTo>
                      <a:close/>
                      <a:moveTo>
                        <a:pt x="907" y="675"/>
                      </a:moveTo>
                      <a:lnTo>
                        <a:pt x="903" y="683"/>
                      </a:lnTo>
                      <a:lnTo>
                        <a:pt x="909" y="685"/>
                      </a:lnTo>
                      <a:lnTo>
                        <a:pt x="907" y="675"/>
                      </a:lnTo>
                      <a:close/>
                      <a:moveTo>
                        <a:pt x="938" y="689"/>
                      </a:moveTo>
                      <a:lnTo>
                        <a:pt x="932" y="689"/>
                      </a:lnTo>
                      <a:lnTo>
                        <a:pt x="932" y="698"/>
                      </a:lnTo>
                      <a:lnTo>
                        <a:pt x="938" y="698"/>
                      </a:lnTo>
                      <a:lnTo>
                        <a:pt x="938" y="689"/>
                      </a:lnTo>
                      <a:close/>
                      <a:moveTo>
                        <a:pt x="992" y="489"/>
                      </a:moveTo>
                      <a:lnTo>
                        <a:pt x="988" y="501"/>
                      </a:lnTo>
                      <a:lnTo>
                        <a:pt x="982" y="497"/>
                      </a:lnTo>
                      <a:lnTo>
                        <a:pt x="986" y="487"/>
                      </a:lnTo>
                      <a:lnTo>
                        <a:pt x="992" y="489"/>
                      </a:lnTo>
                      <a:close/>
                      <a:moveTo>
                        <a:pt x="1539" y="353"/>
                      </a:moveTo>
                      <a:lnTo>
                        <a:pt x="1531" y="364"/>
                      </a:lnTo>
                      <a:lnTo>
                        <a:pt x="1539" y="364"/>
                      </a:lnTo>
                      <a:lnTo>
                        <a:pt x="1546" y="359"/>
                      </a:lnTo>
                      <a:lnTo>
                        <a:pt x="1543" y="355"/>
                      </a:lnTo>
                      <a:lnTo>
                        <a:pt x="1539" y="353"/>
                      </a:lnTo>
                      <a:close/>
                      <a:moveTo>
                        <a:pt x="905" y="1842"/>
                      </a:moveTo>
                      <a:lnTo>
                        <a:pt x="884" y="1849"/>
                      </a:lnTo>
                      <a:lnTo>
                        <a:pt x="867" y="1872"/>
                      </a:lnTo>
                      <a:lnTo>
                        <a:pt x="859" y="1888"/>
                      </a:lnTo>
                      <a:lnTo>
                        <a:pt x="867" y="1905"/>
                      </a:lnTo>
                      <a:lnTo>
                        <a:pt x="879" y="1916"/>
                      </a:lnTo>
                      <a:lnTo>
                        <a:pt x="877" y="1934"/>
                      </a:lnTo>
                      <a:lnTo>
                        <a:pt x="871" y="1945"/>
                      </a:lnTo>
                      <a:lnTo>
                        <a:pt x="880" y="1966"/>
                      </a:lnTo>
                      <a:lnTo>
                        <a:pt x="896" y="1980"/>
                      </a:lnTo>
                      <a:lnTo>
                        <a:pt x="911" y="1984"/>
                      </a:lnTo>
                      <a:lnTo>
                        <a:pt x="927" y="1982"/>
                      </a:lnTo>
                      <a:lnTo>
                        <a:pt x="938" y="1984"/>
                      </a:lnTo>
                      <a:lnTo>
                        <a:pt x="948" y="1978"/>
                      </a:lnTo>
                      <a:lnTo>
                        <a:pt x="948" y="1945"/>
                      </a:lnTo>
                      <a:lnTo>
                        <a:pt x="936" y="1936"/>
                      </a:lnTo>
                      <a:lnTo>
                        <a:pt x="950" y="1926"/>
                      </a:lnTo>
                      <a:lnTo>
                        <a:pt x="946" y="1915"/>
                      </a:lnTo>
                      <a:lnTo>
                        <a:pt x="932" y="1915"/>
                      </a:lnTo>
                      <a:lnTo>
                        <a:pt x="930" y="1905"/>
                      </a:lnTo>
                      <a:lnTo>
                        <a:pt x="942" y="1899"/>
                      </a:lnTo>
                      <a:lnTo>
                        <a:pt x="936" y="1874"/>
                      </a:lnTo>
                      <a:lnTo>
                        <a:pt x="925" y="1853"/>
                      </a:lnTo>
                      <a:lnTo>
                        <a:pt x="913" y="1842"/>
                      </a:lnTo>
                      <a:lnTo>
                        <a:pt x="905" y="1842"/>
                      </a:lnTo>
                      <a:close/>
                      <a:moveTo>
                        <a:pt x="959" y="1941"/>
                      </a:moveTo>
                      <a:lnTo>
                        <a:pt x="953" y="1934"/>
                      </a:lnTo>
                      <a:lnTo>
                        <a:pt x="948" y="1932"/>
                      </a:lnTo>
                      <a:lnTo>
                        <a:pt x="946" y="1940"/>
                      </a:lnTo>
                      <a:lnTo>
                        <a:pt x="955" y="1945"/>
                      </a:lnTo>
                      <a:lnTo>
                        <a:pt x="959" y="1941"/>
                      </a:lnTo>
                      <a:close/>
                      <a:moveTo>
                        <a:pt x="927" y="1740"/>
                      </a:moveTo>
                      <a:lnTo>
                        <a:pt x="951" y="1759"/>
                      </a:lnTo>
                      <a:lnTo>
                        <a:pt x="959" y="1763"/>
                      </a:lnTo>
                      <a:lnTo>
                        <a:pt x="955" y="1771"/>
                      </a:lnTo>
                      <a:lnTo>
                        <a:pt x="963" y="1774"/>
                      </a:lnTo>
                      <a:lnTo>
                        <a:pt x="963" y="1780"/>
                      </a:lnTo>
                      <a:lnTo>
                        <a:pt x="973" y="1780"/>
                      </a:lnTo>
                      <a:lnTo>
                        <a:pt x="976" y="1819"/>
                      </a:lnTo>
                      <a:lnTo>
                        <a:pt x="971" y="1824"/>
                      </a:lnTo>
                      <a:lnTo>
                        <a:pt x="975" y="1830"/>
                      </a:lnTo>
                      <a:lnTo>
                        <a:pt x="976" y="1840"/>
                      </a:lnTo>
                      <a:lnTo>
                        <a:pt x="967" y="1840"/>
                      </a:lnTo>
                      <a:lnTo>
                        <a:pt x="957" y="1822"/>
                      </a:lnTo>
                      <a:lnTo>
                        <a:pt x="951" y="1815"/>
                      </a:lnTo>
                      <a:lnTo>
                        <a:pt x="944" y="1817"/>
                      </a:lnTo>
                      <a:lnTo>
                        <a:pt x="944" y="1796"/>
                      </a:lnTo>
                      <a:lnTo>
                        <a:pt x="940" y="1776"/>
                      </a:lnTo>
                      <a:lnTo>
                        <a:pt x="932" y="1778"/>
                      </a:lnTo>
                      <a:lnTo>
                        <a:pt x="921" y="1759"/>
                      </a:lnTo>
                      <a:lnTo>
                        <a:pt x="921" y="1746"/>
                      </a:lnTo>
                      <a:lnTo>
                        <a:pt x="927" y="1740"/>
                      </a:lnTo>
                      <a:close/>
                      <a:moveTo>
                        <a:pt x="769" y="1828"/>
                      </a:moveTo>
                      <a:lnTo>
                        <a:pt x="763" y="1832"/>
                      </a:lnTo>
                      <a:lnTo>
                        <a:pt x="761" y="1844"/>
                      </a:lnTo>
                      <a:lnTo>
                        <a:pt x="752" y="1853"/>
                      </a:lnTo>
                      <a:lnTo>
                        <a:pt x="760" y="1865"/>
                      </a:lnTo>
                      <a:lnTo>
                        <a:pt x="767" y="1865"/>
                      </a:lnTo>
                      <a:lnTo>
                        <a:pt x="767" y="1855"/>
                      </a:lnTo>
                      <a:lnTo>
                        <a:pt x="773" y="1836"/>
                      </a:lnTo>
                      <a:lnTo>
                        <a:pt x="775" y="1828"/>
                      </a:lnTo>
                      <a:lnTo>
                        <a:pt x="769" y="1828"/>
                      </a:lnTo>
                      <a:close/>
                      <a:moveTo>
                        <a:pt x="1007" y="1809"/>
                      </a:moveTo>
                      <a:lnTo>
                        <a:pt x="999" y="1807"/>
                      </a:lnTo>
                      <a:lnTo>
                        <a:pt x="990" y="1824"/>
                      </a:lnTo>
                      <a:lnTo>
                        <a:pt x="992" y="1832"/>
                      </a:lnTo>
                      <a:lnTo>
                        <a:pt x="1003" y="1830"/>
                      </a:lnTo>
                      <a:lnTo>
                        <a:pt x="1007" y="1809"/>
                      </a:lnTo>
                      <a:close/>
                      <a:moveTo>
                        <a:pt x="932" y="1796"/>
                      </a:moveTo>
                      <a:lnTo>
                        <a:pt x="938" y="1805"/>
                      </a:lnTo>
                      <a:lnTo>
                        <a:pt x="938" y="1811"/>
                      </a:lnTo>
                      <a:lnTo>
                        <a:pt x="932" y="1813"/>
                      </a:lnTo>
                      <a:lnTo>
                        <a:pt x="930" y="1805"/>
                      </a:lnTo>
                      <a:lnTo>
                        <a:pt x="925" y="1801"/>
                      </a:lnTo>
                      <a:lnTo>
                        <a:pt x="932" y="1796"/>
                      </a:lnTo>
                      <a:close/>
                      <a:moveTo>
                        <a:pt x="994" y="1836"/>
                      </a:moveTo>
                      <a:lnTo>
                        <a:pt x="984" y="1838"/>
                      </a:lnTo>
                      <a:lnTo>
                        <a:pt x="988" y="1847"/>
                      </a:lnTo>
                      <a:lnTo>
                        <a:pt x="992" y="1851"/>
                      </a:lnTo>
                      <a:lnTo>
                        <a:pt x="996" y="1845"/>
                      </a:lnTo>
                      <a:lnTo>
                        <a:pt x="994" y="1836"/>
                      </a:lnTo>
                      <a:close/>
                      <a:moveTo>
                        <a:pt x="666" y="1719"/>
                      </a:moveTo>
                      <a:lnTo>
                        <a:pt x="666" y="1730"/>
                      </a:lnTo>
                      <a:lnTo>
                        <a:pt x="660" y="1742"/>
                      </a:lnTo>
                      <a:lnTo>
                        <a:pt x="667" y="1763"/>
                      </a:lnTo>
                      <a:lnTo>
                        <a:pt x="666" y="1786"/>
                      </a:lnTo>
                      <a:lnTo>
                        <a:pt x="673" y="1798"/>
                      </a:lnTo>
                      <a:lnTo>
                        <a:pt x="685" y="1803"/>
                      </a:lnTo>
                      <a:lnTo>
                        <a:pt x="687" y="1844"/>
                      </a:lnTo>
                      <a:lnTo>
                        <a:pt x="667" y="1859"/>
                      </a:lnTo>
                      <a:lnTo>
                        <a:pt x="666" y="1865"/>
                      </a:lnTo>
                      <a:lnTo>
                        <a:pt x="660" y="1869"/>
                      </a:lnTo>
                      <a:lnTo>
                        <a:pt x="654" y="1870"/>
                      </a:lnTo>
                      <a:lnTo>
                        <a:pt x="652" y="1870"/>
                      </a:lnTo>
                      <a:lnTo>
                        <a:pt x="627" y="1870"/>
                      </a:lnTo>
                      <a:lnTo>
                        <a:pt x="619" y="1884"/>
                      </a:lnTo>
                      <a:lnTo>
                        <a:pt x="608" y="1892"/>
                      </a:lnTo>
                      <a:lnTo>
                        <a:pt x="595" y="1884"/>
                      </a:lnTo>
                      <a:lnTo>
                        <a:pt x="593" y="1867"/>
                      </a:lnTo>
                      <a:lnTo>
                        <a:pt x="616" y="1851"/>
                      </a:lnTo>
                      <a:lnTo>
                        <a:pt x="614" y="1828"/>
                      </a:lnTo>
                      <a:lnTo>
                        <a:pt x="596" y="1822"/>
                      </a:lnTo>
                      <a:lnTo>
                        <a:pt x="596" y="1813"/>
                      </a:lnTo>
                      <a:lnTo>
                        <a:pt x="618" y="1796"/>
                      </a:lnTo>
                      <a:lnTo>
                        <a:pt x="602" y="1790"/>
                      </a:lnTo>
                      <a:lnTo>
                        <a:pt x="589" y="1813"/>
                      </a:lnTo>
                      <a:lnTo>
                        <a:pt x="577" y="1826"/>
                      </a:lnTo>
                      <a:lnTo>
                        <a:pt x="554" y="1842"/>
                      </a:lnTo>
                      <a:lnTo>
                        <a:pt x="541" y="1832"/>
                      </a:lnTo>
                      <a:lnTo>
                        <a:pt x="552" y="1824"/>
                      </a:lnTo>
                      <a:lnTo>
                        <a:pt x="554" y="1811"/>
                      </a:lnTo>
                      <a:lnTo>
                        <a:pt x="566" y="1794"/>
                      </a:lnTo>
                      <a:lnTo>
                        <a:pt x="562" y="1782"/>
                      </a:lnTo>
                      <a:lnTo>
                        <a:pt x="573" y="1767"/>
                      </a:lnTo>
                      <a:lnTo>
                        <a:pt x="571" y="1753"/>
                      </a:lnTo>
                      <a:lnTo>
                        <a:pt x="589" y="1750"/>
                      </a:lnTo>
                      <a:lnTo>
                        <a:pt x="596" y="1742"/>
                      </a:lnTo>
                      <a:lnTo>
                        <a:pt x="608" y="1738"/>
                      </a:lnTo>
                      <a:lnTo>
                        <a:pt x="602" y="1755"/>
                      </a:lnTo>
                      <a:lnTo>
                        <a:pt x="602" y="1773"/>
                      </a:lnTo>
                      <a:lnTo>
                        <a:pt x="610" y="1771"/>
                      </a:lnTo>
                      <a:lnTo>
                        <a:pt x="608" y="1759"/>
                      </a:lnTo>
                      <a:lnTo>
                        <a:pt x="618" y="1746"/>
                      </a:lnTo>
                      <a:lnTo>
                        <a:pt x="639" y="1727"/>
                      </a:lnTo>
                      <a:lnTo>
                        <a:pt x="666" y="1719"/>
                      </a:lnTo>
                      <a:close/>
                      <a:moveTo>
                        <a:pt x="666" y="1617"/>
                      </a:moveTo>
                      <a:lnTo>
                        <a:pt x="669" y="1627"/>
                      </a:lnTo>
                      <a:lnTo>
                        <a:pt x="660" y="1642"/>
                      </a:lnTo>
                      <a:lnTo>
                        <a:pt x="652" y="1663"/>
                      </a:lnTo>
                      <a:lnTo>
                        <a:pt x="633" y="1661"/>
                      </a:lnTo>
                      <a:lnTo>
                        <a:pt x="633" y="1642"/>
                      </a:lnTo>
                      <a:lnTo>
                        <a:pt x="644" y="1629"/>
                      </a:lnTo>
                      <a:lnTo>
                        <a:pt x="652" y="1627"/>
                      </a:lnTo>
                      <a:lnTo>
                        <a:pt x="666" y="1617"/>
                      </a:lnTo>
                      <a:close/>
                      <a:moveTo>
                        <a:pt x="639" y="1667"/>
                      </a:moveTo>
                      <a:lnTo>
                        <a:pt x="650" y="1669"/>
                      </a:lnTo>
                      <a:lnTo>
                        <a:pt x="637" y="1679"/>
                      </a:lnTo>
                      <a:lnTo>
                        <a:pt x="629" y="1669"/>
                      </a:lnTo>
                      <a:lnTo>
                        <a:pt x="639" y="1667"/>
                      </a:lnTo>
                      <a:close/>
                      <a:moveTo>
                        <a:pt x="790" y="1615"/>
                      </a:moveTo>
                      <a:lnTo>
                        <a:pt x="796" y="1625"/>
                      </a:lnTo>
                      <a:lnTo>
                        <a:pt x="792" y="1638"/>
                      </a:lnTo>
                      <a:lnTo>
                        <a:pt x="775" y="1661"/>
                      </a:lnTo>
                      <a:lnTo>
                        <a:pt x="771" y="1679"/>
                      </a:lnTo>
                      <a:lnTo>
                        <a:pt x="761" y="1684"/>
                      </a:lnTo>
                      <a:lnTo>
                        <a:pt x="746" y="1709"/>
                      </a:lnTo>
                      <a:lnTo>
                        <a:pt x="729" y="1753"/>
                      </a:lnTo>
                      <a:lnTo>
                        <a:pt x="714" y="1753"/>
                      </a:lnTo>
                      <a:lnTo>
                        <a:pt x="712" y="1776"/>
                      </a:lnTo>
                      <a:lnTo>
                        <a:pt x="704" y="1790"/>
                      </a:lnTo>
                      <a:lnTo>
                        <a:pt x="683" y="1790"/>
                      </a:lnTo>
                      <a:lnTo>
                        <a:pt x="677" y="1774"/>
                      </a:lnTo>
                      <a:lnTo>
                        <a:pt x="671" y="1753"/>
                      </a:lnTo>
                      <a:lnTo>
                        <a:pt x="677" y="1744"/>
                      </a:lnTo>
                      <a:lnTo>
                        <a:pt x="673" y="1734"/>
                      </a:lnTo>
                      <a:lnTo>
                        <a:pt x="698" y="1711"/>
                      </a:lnTo>
                      <a:lnTo>
                        <a:pt x="723" y="1711"/>
                      </a:lnTo>
                      <a:lnTo>
                        <a:pt x="735" y="1705"/>
                      </a:lnTo>
                      <a:lnTo>
                        <a:pt x="744" y="1694"/>
                      </a:lnTo>
                      <a:lnTo>
                        <a:pt x="729" y="1700"/>
                      </a:lnTo>
                      <a:lnTo>
                        <a:pt x="712" y="1704"/>
                      </a:lnTo>
                      <a:lnTo>
                        <a:pt x="700" y="1694"/>
                      </a:lnTo>
                      <a:lnTo>
                        <a:pt x="715" y="1671"/>
                      </a:lnTo>
                      <a:lnTo>
                        <a:pt x="750" y="1644"/>
                      </a:lnTo>
                      <a:lnTo>
                        <a:pt x="790" y="1615"/>
                      </a:lnTo>
                      <a:close/>
                      <a:moveTo>
                        <a:pt x="596" y="1327"/>
                      </a:moveTo>
                      <a:lnTo>
                        <a:pt x="577" y="1337"/>
                      </a:lnTo>
                      <a:lnTo>
                        <a:pt x="556" y="1358"/>
                      </a:lnTo>
                      <a:lnTo>
                        <a:pt x="543" y="1366"/>
                      </a:lnTo>
                      <a:lnTo>
                        <a:pt x="524" y="1377"/>
                      </a:lnTo>
                      <a:lnTo>
                        <a:pt x="531" y="1389"/>
                      </a:lnTo>
                      <a:lnTo>
                        <a:pt x="539" y="1377"/>
                      </a:lnTo>
                      <a:lnTo>
                        <a:pt x="556" y="1385"/>
                      </a:lnTo>
                      <a:lnTo>
                        <a:pt x="577" y="1366"/>
                      </a:lnTo>
                      <a:lnTo>
                        <a:pt x="598" y="1343"/>
                      </a:lnTo>
                      <a:lnTo>
                        <a:pt x="602" y="1335"/>
                      </a:lnTo>
                      <a:lnTo>
                        <a:pt x="596" y="1327"/>
                      </a:lnTo>
                      <a:close/>
                      <a:moveTo>
                        <a:pt x="510" y="1391"/>
                      </a:moveTo>
                      <a:lnTo>
                        <a:pt x="504" y="1397"/>
                      </a:lnTo>
                      <a:lnTo>
                        <a:pt x="495" y="1400"/>
                      </a:lnTo>
                      <a:lnTo>
                        <a:pt x="487" y="1402"/>
                      </a:lnTo>
                      <a:lnTo>
                        <a:pt x="483" y="1404"/>
                      </a:lnTo>
                      <a:lnTo>
                        <a:pt x="462" y="1404"/>
                      </a:lnTo>
                      <a:lnTo>
                        <a:pt x="443" y="1410"/>
                      </a:lnTo>
                      <a:lnTo>
                        <a:pt x="451" y="1423"/>
                      </a:lnTo>
                      <a:lnTo>
                        <a:pt x="449" y="1443"/>
                      </a:lnTo>
                      <a:lnTo>
                        <a:pt x="460" y="1450"/>
                      </a:lnTo>
                      <a:lnTo>
                        <a:pt x="474" y="1446"/>
                      </a:lnTo>
                      <a:lnTo>
                        <a:pt x="474" y="1431"/>
                      </a:lnTo>
                      <a:lnTo>
                        <a:pt x="483" y="1425"/>
                      </a:lnTo>
                      <a:lnTo>
                        <a:pt x="499" y="1418"/>
                      </a:lnTo>
                      <a:lnTo>
                        <a:pt x="514" y="1406"/>
                      </a:lnTo>
                      <a:lnTo>
                        <a:pt x="510" y="1391"/>
                      </a:lnTo>
                      <a:close/>
                      <a:moveTo>
                        <a:pt x="687" y="1350"/>
                      </a:moveTo>
                      <a:lnTo>
                        <a:pt x="673" y="1360"/>
                      </a:lnTo>
                      <a:lnTo>
                        <a:pt x="671" y="1368"/>
                      </a:lnTo>
                      <a:lnTo>
                        <a:pt x="664" y="1364"/>
                      </a:lnTo>
                      <a:lnTo>
                        <a:pt x="673" y="1385"/>
                      </a:lnTo>
                      <a:lnTo>
                        <a:pt x="650" y="1377"/>
                      </a:lnTo>
                      <a:lnTo>
                        <a:pt x="631" y="1377"/>
                      </a:lnTo>
                      <a:lnTo>
                        <a:pt x="633" y="1389"/>
                      </a:lnTo>
                      <a:lnTo>
                        <a:pt x="644" y="1391"/>
                      </a:lnTo>
                      <a:lnTo>
                        <a:pt x="637" y="1400"/>
                      </a:lnTo>
                      <a:lnTo>
                        <a:pt x="627" y="1404"/>
                      </a:lnTo>
                      <a:lnTo>
                        <a:pt x="635" y="1418"/>
                      </a:lnTo>
                      <a:lnTo>
                        <a:pt x="658" y="1416"/>
                      </a:lnTo>
                      <a:lnTo>
                        <a:pt x="675" y="1431"/>
                      </a:lnTo>
                      <a:lnTo>
                        <a:pt x="685" y="1448"/>
                      </a:lnTo>
                      <a:lnTo>
                        <a:pt x="714" y="1437"/>
                      </a:lnTo>
                      <a:lnTo>
                        <a:pt x="723" y="1446"/>
                      </a:lnTo>
                      <a:lnTo>
                        <a:pt x="702" y="1458"/>
                      </a:lnTo>
                      <a:lnTo>
                        <a:pt x="681" y="1458"/>
                      </a:lnTo>
                      <a:lnTo>
                        <a:pt x="658" y="1491"/>
                      </a:lnTo>
                      <a:lnTo>
                        <a:pt x="662" y="1502"/>
                      </a:lnTo>
                      <a:lnTo>
                        <a:pt x="687" y="1496"/>
                      </a:lnTo>
                      <a:lnTo>
                        <a:pt x="710" y="1485"/>
                      </a:lnTo>
                      <a:lnTo>
                        <a:pt x="717" y="1496"/>
                      </a:lnTo>
                      <a:lnTo>
                        <a:pt x="702" y="1506"/>
                      </a:lnTo>
                      <a:lnTo>
                        <a:pt x="666" y="1510"/>
                      </a:lnTo>
                      <a:lnTo>
                        <a:pt x="650" y="1512"/>
                      </a:lnTo>
                      <a:lnTo>
                        <a:pt x="642" y="1523"/>
                      </a:lnTo>
                      <a:lnTo>
                        <a:pt x="633" y="1508"/>
                      </a:lnTo>
                      <a:lnTo>
                        <a:pt x="616" y="1508"/>
                      </a:lnTo>
                      <a:lnTo>
                        <a:pt x="612" y="1519"/>
                      </a:lnTo>
                      <a:lnTo>
                        <a:pt x="614" y="1537"/>
                      </a:lnTo>
                      <a:lnTo>
                        <a:pt x="625" y="1546"/>
                      </a:lnTo>
                      <a:lnTo>
                        <a:pt x="641" y="1546"/>
                      </a:lnTo>
                      <a:lnTo>
                        <a:pt x="650" y="1539"/>
                      </a:lnTo>
                      <a:lnTo>
                        <a:pt x="679" y="1537"/>
                      </a:lnTo>
                      <a:lnTo>
                        <a:pt x="700" y="1540"/>
                      </a:lnTo>
                      <a:lnTo>
                        <a:pt x="717" y="1523"/>
                      </a:lnTo>
                      <a:lnTo>
                        <a:pt x="731" y="1533"/>
                      </a:lnTo>
                      <a:lnTo>
                        <a:pt x="740" y="1512"/>
                      </a:lnTo>
                      <a:lnTo>
                        <a:pt x="756" y="1512"/>
                      </a:lnTo>
                      <a:lnTo>
                        <a:pt x="742" y="1533"/>
                      </a:lnTo>
                      <a:lnTo>
                        <a:pt x="761" y="1535"/>
                      </a:lnTo>
                      <a:lnTo>
                        <a:pt x="800" y="1508"/>
                      </a:lnTo>
                      <a:lnTo>
                        <a:pt x="788" y="1498"/>
                      </a:lnTo>
                      <a:lnTo>
                        <a:pt x="771" y="1508"/>
                      </a:lnTo>
                      <a:lnTo>
                        <a:pt x="786" y="1485"/>
                      </a:lnTo>
                      <a:lnTo>
                        <a:pt x="796" y="1491"/>
                      </a:lnTo>
                      <a:lnTo>
                        <a:pt x="809" y="1496"/>
                      </a:lnTo>
                      <a:lnTo>
                        <a:pt x="808" y="1483"/>
                      </a:lnTo>
                      <a:lnTo>
                        <a:pt x="802" y="1473"/>
                      </a:lnTo>
                      <a:lnTo>
                        <a:pt x="815" y="1473"/>
                      </a:lnTo>
                      <a:lnTo>
                        <a:pt x="815" y="1462"/>
                      </a:lnTo>
                      <a:lnTo>
                        <a:pt x="800" y="1450"/>
                      </a:lnTo>
                      <a:lnTo>
                        <a:pt x="783" y="1450"/>
                      </a:lnTo>
                      <a:lnTo>
                        <a:pt x="777" y="1433"/>
                      </a:lnTo>
                      <a:lnTo>
                        <a:pt x="760" y="1431"/>
                      </a:lnTo>
                      <a:lnTo>
                        <a:pt x="733" y="1423"/>
                      </a:lnTo>
                      <a:lnTo>
                        <a:pt x="721" y="1393"/>
                      </a:lnTo>
                      <a:lnTo>
                        <a:pt x="706" y="1364"/>
                      </a:lnTo>
                      <a:lnTo>
                        <a:pt x="698" y="1364"/>
                      </a:lnTo>
                      <a:lnTo>
                        <a:pt x="687" y="1350"/>
                      </a:lnTo>
                      <a:close/>
                      <a:moveTo>
                        <a:pt x="677" y="1448"/>
                      </a:moveTo>
                      <a:lnTo>
                        <a:pt x="666" y="1441"/>
                      </a:lnTo>
                      <a:lnTo>
                        <a:pt x="654" y="1431"/>
                      </a:lnTo>
                      <a:lnTo>
                        <a:pt x="642" y="1446"/>
                      </a:lnTo>
                      <a:lnTo>
                        <a:pt x="662" y="1454"/>
                      </a:lnTo>
                      <a:lnTo>
                        <a:pt x="667" y="1452"/>
                      </a:lnTo>
                      <a:lnTo>
                        <a:pt x="677" y="1448"/>
                      </a:lnTo>
                      <a:close/>
                      <a:moveTo>
                        <a:pt x="646" y="1431"/>
                      </a:moveTo>
                      <a:lnTo>
                        <a:pt x="637" y="1444"/>
                      </a:lnTo>
                      <a:lnTo>
                        <a:pt x="631" y="1437"/>
                      </a:lnTo>
                      <a:lnTo>
                        <a:pt x="646" y="1431"/>
                      </a:lnTo>
                      <a:close/>
                      <a:moveTo>
                        <a:pt x="606" y="1431"/>
                      </a:moveTo>
                      <a:lnTo>
                        <a:pt x="604" y="1443"/>
                      </a:lnTo>
                      <a:lnTo>
                        <a:pt x="595" y="1437"/>
                      </a:lnTo>
                      <a:lnTo>
                        <a:pt x="600" y="1429"/>
                      </a:lnTo>
                      <a:lnTo>
                        <a:pt x="606" y="1431"/>
                      </a:lnTo>
                      <a:close/>
                      <a:moveTo>
                        <a:pt x="602" y="1504"/>
                      </a:moveTo>
                      <a:lnTo>
                        <a:pt x="593" y="1512"/>
                      </a:lnTo>
                      <a:lnTo>
                        <a:pt x="589" y="1523"/>
                      </a:lnTo>
                      <a:lnTo>
                        <a:pt x="596" y="1529"/>
                      </a:lnTo>
                      <a:lnTo>
                        <a:pt x="606" y="1517"/>
                      </a:lnTo>
                      <a:lnTo>
                        <a:pt x="602" y="1504"/>
                      </a:lnTo>
                      <a:close/>
                      <a:moveTo>
                        <a:pt x="875" y="1414"/>
                      </a:moveTo>
                      <a:lnTo>
                        <a:pt x="873" y="1423"/>
                      </a:lnTo>
                      <a:lnTo>
                        <a:pt x="842" y="1456"/>
                      </a:lnTo>
                      <a:lnTo>
                        <a:pt x="831" y="1458"/>
                      </a:lnTo>
                      <a:lnTo>
                        <a:pt x="832" y="1448"/>
                      </a:lnTo>
                      <a:lnTo>
                        <a:pt x="865" y="1418"/>
                      </a:lnTo>
                      <a:lnTo>
                        <a:pt x="875" y="1414"/>
                      </a:lnTo>
                      <a:close/>
                      <a:moveTo>
                        <a:pt x="854" y="1485"/>
                      </a:moveTo>
                      <a:lnTo>
                        <a:pt x="836" y="1506"/>
                      </a:lnTo>
                      <a:lnTo>
                        <a:pt x="829" y="1502"/>
                      </a:lnTo>
                      <a:lnTo>
                        <a:pt x="836" y="1487"/>
                      </a:lnTo>
                      <a:lnTo>
                        <a:pt x="854" y="1485"/>
                      </a:lnTo>
                      <a:close/>
                      <a:moveTo>
                        <a:pt x="777" y="1562"/>
                      </a:moveTo>
                      <a:lnTo>
                        <a:pt x="769" y="1567"/>
                      </a:lnTo>
                      <a:lnTo>
                        <a:pt x="771" y="1573"/>
                      </a:lnTo>
                      <a:lnTo>
                        <a:pt x="779" y="1567"/>
                      </a:lnTo>
                      <a:lnTo>
                        <a:pt x="777" y="1562"/>
                      </a:lnTo>
                      <a:close/>
                      <a:moveTo>
                        <a:pt x="794" y="1592"/>
                      </a:moveTo>
                      <a:lnTo>
                        <a:pt x="800" y="1606"/>
                      </a:lnTo>
                      <a:lnTo>
                        <a:pt x="788" y="1609"/>
                      </a:lnTo>
                      <a:lnTo>
                        <a:pt x="779" y="1611"/>
                      </a:lnTo>
                      <a:lnTo>
                        <a:pt x="773" y="1604"/>
                      </a:lnTo>
                      <a:lnTo>
                        <a:pt x="783" y="1596"/>
                      </a:lnTo>
                      <a:lnTo>
                        <a:pt x="788" y="1594"/>
                      </a:lnTo>
                      <a:lnTo>
                        <a:pt x="794" y="1592"/>
                      </a:lnTo>
                      <a:close/>
                      <a:moveTo>
                        <a:pt x="790" y="1581"/>
                      </a:moveTo>
                      <a:lnTo>
                        <a:pt x="783" y="1585"/>
                      </a:lnTo>
                      <a:lnTo>
                        <a:pt x="783" y="1588"/>
                      </a:lnTo>
                      <a:lnTo>
                        <a:pt x="796" y="1590"/>
                      </a:lnTo>
                      <a:lnTo>
                        <a:pt x="796" y="1581"/>
                      </a:lnTo>
                      <a:lnTo>
                        <a:pt x="790" y="1581"/>
                      </a:lnTo>
                      <a:close/>
                      <a:moveTo>
                        <a:pt x="806" y="1563"/>
                      </a:moveTo>
                      <a:lnTo>
                        <a:pt x="802" y="1583"/>
                      </a:lnTo>
                      <a:lnTo>
                        <a:pt x="808" y="1598"/>
                      </a:lnTo>
                      <a:lnTo>
                        <a:pt x="813" y="1596"/>
                      </a:lnTo>
                      <a:lnTo>
                        <a:pt x="811" y="1577"/>
                      </a:lnTo>
                      <a:lnTo>
                        <a:pt x="813" y="1565"/>
                      </a:lnTo>
                      <a:lnTo>
                        <a:pt x="806" y="1563"/>
                      </a:lnTo>
                      <a:close/>
                      <a:moveTo>
                        <a:pt x="817" y="1581"/>
                      </a:moveTo>
                      <a:lnTo>
                        <a:pt x="817" y="1596"/>
                      </a:lnTo>
                      <a:lnTo>
                        <a:pt x="825" y="1592"/>
                      </a:lnTo>
                      <a:lnTo>
                        <a:pt x="825" y="1581"/>
                      </a:lnTo>
                      <a:lnTo>
                        <a:pt x="817" y="1581"/>
                      </a:lnTo>
                      <a:close/>
                      <a:moveTo>
                        <a:pt x="825" y="1529"/>
                      </a:moveTo>
                      <a:lnTo>
                        <a:pt x="819" y="1531"/>
                      </a:lnTo>
                      <a:lnTo>
                        <a:pt x="809" y="1539"/>
                      </a:lnTo>
                      <a:lnTo>
                        <a:pt x="809" y="1560"/>
                      </a:lnTo>
                      <a:lnTo>
                        <a:pt x="821" y="1556"/>
                      </a:lnTo>
                      <a:lnTo>
                        <a:pt x="825" y="1529"/>
                      </a:lnTo>
                      <a:close/>
                      <a:moveTo>
                        <a:pt x="706" y="407"/>
                      </a:moveTo>
                      <a:lnTo>
                        <a:pt x="702" y="424"/>
                      </a:lnTo>
                      <a:lnTo>
                        <a:pt x="679" y="437"/>
                      </a:lnTo>
                      <a:lnTo>
                        <a:pt x="639" y="468"/>
                      </a:lnTo>
                      <a:lnTo>
                        <a:pt x="616" y="489"/>
                      </a:lnTo>
                      <a:lnTo>
                        <a:pt x="602" y="487"/>
                      </a:lnTo>
                      <a:lnTo>
                        <a:pt x="562" y="506"/>
                      </a:lnTo>
                      <a:lnTo>
                        <a:pt x="552" y="518"/>
                      </a:lnTo>
                      <a:lnTo>
                        <a:pt x="564" y="520"/>
                      </a:lnTo>
                      <a:lnTo>
                        <a:pt x="552" y="527"/>
                      </a:lnTo>
                      <a:lnTo>
                        <a:pt x="564" y="547"/>
                      </a:lnTo>
                      <a:lnTo>
                        <a:pt x="575" y="558"/>
                      </a:lnTo>
                      <a:lnTo>
                        <a:pt x="579" y="570"/>
                      </a:lnTo>
                      <a:lnTo>
                        <a:pt x="577" y="572"/>
                      </a:lnTo>
                      <a:lnTo>
                        <a:pt x="575" y="572"/>
                      </a:lnTo>
                      <a:lnTo>
                        <a:pt x="573" y="572"/>
                      </a:lnTo>
                      <a:lnTo>
                        <a:pt x="571" y="570"/>
                      </a:lnTo>
                      <a:lnTo>
                        <a:pt x="570" y="568"/>
                      </a:lnTo>
                      <a:lnTo>
                        <a:pt x="568" y="566"/>
                      </a:lnTo>
                      <a:lnTo>
                        <a:pt x="558" y="558"/>
                      </a:lnTo>
                      <a:lnTo>
                        <a:pt x="543" y="562"/>
                      </a:lnTo>
                      <a:lnTo>
                        <a:pt x="533" y="568"/>
                      </a:lnTo>
                      <a:lnTo>
                        <a:pt x="522" y="558"/>
                      </a:lnTo>
                      <a:lnTo>
                        <a:pt x="529" y="552"/>
                      </a:lnTo>
                      <a:lnTo>
                        <a:pt x="518" y="541"/>
                      </a:lnTo>
                      <a:lnTo>
                        <a:pt x="508" y="547"/>
                      </a:lnTo>
                      <a:lnTo>
                        <a:pt x="499" y="535"/>
                      </a:lnTo>
                      <a:lnTo>
                        <a:pt x="489" y="552"/>
                      </a:lnTo>
                      <a:lnTo>
                        <a:pt x="497" y="562"/>
                      </a:lnTo>
                      <a:lnTo>
                        <a:pt x="481" y="558"/>
                      </a:lnTo>
                      <a:lnTo>
                        <a:pt x="472" y="566"/>
                      </a:lnTo>
                      <a:lnTo>
                        <a:pt x="477" y="575"/>
                      </a:lnTo>
                      <a:lnTo>
                        <a:pt x="462" y="587"/>
                      </a:lnTo>
                      <a:lnTo>
                        <a:pt x="466" y="612"/>
                      </a:lnTo>
                      <a:lnTo>
                        <a:pt x="483" y="623"/>
                      </a:lnTo>
                      <a:lnTo>
                        <a:pt x="479" y="633"/>
                      </a:lnTo>
                      <a:lnTo>
                        <a:pt x="497" y="639"/>
                      </a:lnTo>
                      <a:lnTo>
                        <a:pt x="477" y="650"/>
                      </a:lnTo>
                      <a:lnTo>
                        <a:pt x="462" y="639"/>
                      </a:lnTo>
                      <a:lnTo>
                        <a:pt x="453" y="644"/>
                      </a:lnTo>
                      <a:lnTo>
                        <a:pt x="476" y="669"/>
                      </a:lnTo>
                      <a:lnTo>
                        <a:pt x="479" y="679"/>
                      </a:lnTo>
                      <a:lnTo>
                        <a:pt x="497" y="677"/>
                      </a:lnTo>
                      <a:lnTo>
                        <a:pt x="527" y="694"/>
                      </a:lnTo>
                      <a:lnTo>
                        <a:pt x="533" y="704"/>
                      </a:lnTo>
                      <a:lnTo>
                        <a:pt x="525" y="712"/>
                      </a:lnTo>
                      <a:lnTo>
                        <a:pt x="514" y="704"/>
                      </a:lnTo>
                      <a:lnTo>
                        <a:pt x="506" y="712"/>
                      </a:lnTo>
                      <a:lnTo>
                        <a:pt x="512" y="721"/>
                      </a:lnTo>
                      <a:lnTo>
                        <a:pt x="499" y="723"/>
                      </a:lnTo>
                      <a:lnTo>
                        <a:pt x="479" y="744"/>
                      </a:lnTo>
                      <a:lnTo>
                        <a:pt x="468" y="735"/>
                      </a:lnTo>
                      <a:lnTo>
                        <a:pt x="456" y="742"/>
                      </a:lnTo>
                      <a:lnTo>
                        <a:pt x="468" y="754"/>
                      </a:lnTo>
                      <a:lnTo>
                        <a:pt x="476" y="769"/>
                      </a:lnTo>
                      <a:lnTo>
                        <a:pt x="491" y="790"/>
                      </a:lnTo>
                      <a:lnTo>
                        <a:pt x="506" y="783"/>
                      </a:lnTo>
                      <a:lnTo>
                        <a:pt x="516" y="779"/>
                      </a:lnTo>
                      <a:lnTo>
                        <a:pt x="531" y="752"/>
                      </a:lnTo>
                      <a:lnTo>
                        <a:pt x="537" y="760"/>
                      </a:lnTo>
                      <a:lnTo>
                        <a:pt x="550" y="756"/>
                      </a:lnTo>
                      <a:lnTo>
                        <a:pt x="550" y="746"/>
                      </a:lnTo>
                      <a:lnTo>
                        <a:pt x="554" y="756"/>
                      </a:lnTo>
                      <a:lnTo>
                        <a:pt x="564" y="748"/>
                      </a:lnTo>
                      <a:lnTo>
                        <a:pt x="554" y="729"/>
                      </a:lnTo>
                      <a:lnTo>
                        <a:pt x="545" y="727"/>
                      </a:lnTo>
                      <a:lnTo>
                        <a:pt x="547" y="713"/>
                      </a:lnTo>
                      <a:lnTo>
                        <a:pt x="564" y="721"/>
                      </a:lnTo>
                      <a:lnTo>
                        <a:pt x="581" y="719"/>
                      </a:lnTo>
                      <a:lnTo>
                        <a:pt x="575" y="706"/>
                      </a:lnTo>
                      <a:lnTo>
                        <a:pt x="579" y="698"/>
                      </a:lnTo>
                      <a:lnTo>
                        <a:pt x="571" y="689"/>
                      </a:lnTo>
                      <a:lnTo>
                        <a:pt x="564" y="685"/>
                      </a:lnTo>
                      <a:lnTo>
                        <a:pt x="568" y="675"/>
                      </a:lnTo>
                      <a:lnTo>
                        <a:pt x="564" y="660"/>
                      </a:lnTo>
                      <a:lnTo>
                        <a:pt x="575" y="658"/>
                      </a:lnTo>
                      <a:lnTo>
                        <a:pt x="575" y="687"/>
                      </a:lnTo>
                      <a:lnTo>
                        <a:pt x="593" y="704"/>
                      </a:lnTo>
                      <a:lnTo>
                        <a:pt x="591" y="687"/>
                      </a:lnTo>
                      <a:lnTo>
                        <a:pt x="602" y="704"/>
                      </a:lnTo>
                      <a:lnTo>
                        <a:pt x="616" y="706"/>
                      </a:lnTo>
                      <a:lnTo>
                        <a:pt x="616" y="694"/>
                      </a:lnTo>
                      <a:lnTo>
                        <a:pt x="627" y="702"/>
                      </a:lnTo>
                      <a:lnTo>
                        <a:pt x="642" y="677"/>
                      </a:lnTo>
                      <a:lnTo>
                        <a:pt x="639" y="667"/>
                      </a:lnTo>
                      <a:lnTo>
                        <a:pt x="616" y="667"/>
                      </a:lnTo>
                      <a:lnTo>
                        <a:pt x="625" y="658"/>
                      </a:lnTo>
                      <a:lnTo>
                        <a:pt x="642" y="662"/>
                      </a:lnTo>
                      <a:lnTo>
                        <a:pt x="652" y="667"/>
                      </a:lnTo>
                      <a:lnTo>
                        <a:pt x="671" y="654"/>
                      </a:lnTo>
                      <a:lnTo>
                        <a:pt x="652" y="648"/>
                      </a:lnTo>
                      <a:lnTo>
                        <a:pt x="666" y="643"/>
                      </a:lnTo>
                      <a:lnTo>
                        <a:pt x="662" y="619"/>
                      </a:lnTo>
                      <a:lnTo>
                        <a:pt x="650" y="619"/>
                      </a:lnTo>
                      <a:lnTo>
                        <a:pt x="625" y="618"/>
                      </a:lnTo>
                      <a:lnTo>
                        <a:pt x="637" y="612"/>
                      </a:lnTo>
                      <a:lnTo>
                        <a:pt x="669" y="600"/>
                      </a:lnTo>
                      <a:lnTo>
                        <a:pt x="666" y="568"/>
                      </a:lnTo>
                      <a:lnTo>
                        <a:pt x="681" y="572"/>
                      </a:lnTo>
                      <a:lnTo>
                        <a:pt x="692" y="564"/>
                      </a:lnTo>
                      <a:lnTo>
                        <a:pt x="681" y="556"/>
                      </a:lnTo>
                      <a:lnTo>
                        <a:pt x="669" y="558"/>
                      </a:lnTo>
                      <a:lnTo>
                        <a:pt x="669" y="548"/>
                      </a:lnTo>
                      <a:lnTo>
                        <a:pt x="679" y="550"/>
                      </a:lnTo>
                      <a:lnTo>
                        <a:pt x="685" y="541"/>
                      </a:lnTo>
                      <a:lnTo>
                        <a:pt x="694" y="531"/>
                      </a:lnTo>
                      <a:lnTo>
                        <a:pt x="702" y="524"/>
                      </a:lnTo>
                      <a:lnTo>
                        <a:pt x="723" y="501"/>
                      </a:lnTo>
                      <a:lnTo>
                        <a:pt x="714" y="487"/>
                      </a:lnTo>
                      <a:lnTo>
                        <a:pt x="729" y="462"/>
                      </a:lnTo>
                      <a:lnTo>
                        <a:pt x="721" y="453"/>
                      </a:lnTo>
                      <a:lnTo>
                        <a:pt x="727" y="433"/>
                      </a:lnTo>
                      <a:lnTo>
                        <a:pt x="721" y="418"/>
                      </a:lnTo>
                      <a:lnTo>
                        <a:pt x="706" y="407"/>
                      </a:lnTo>
                      <a:close/>
                      <a:moveTo>
                        <a:pt x="727" y="537"/>
                      </a:moveTo>
                      <a:lnTo>
                        <a:pt x="710" y="547"/>
                      </a:lnTo>
                      <a:lnTo>
                        <a:pt x="694" y="572"/>
                      </a:lnTo>
                      <a:lnTo>
                        <a:pt x="702" y="583"/>
                      </a:lnTo>
                      <a:lnTo>
                        <a:pt x="714" y="572"/>
                      </a:lnTo>
                      <a:lnTo>
                        <a:pt x="725" y="572"/>
                      </a:lnTo>
                      <a:lnTo>
                        <a:pt x="725" y="558"/>
                      </a:lnTo>
                      <a:lnTo>
                        <a:pt x="737" y="543"/>
                      </a:lnTo>
                      <a:lnTo>
                        <a:pt x="727" y="537"/>
                      </a:lnTo>
                      <a:close/>
                      <a:moveTo>
                        <a:pt x="548" y="541"/>
                      </a:moveTo>
                      <a:lnTo>
                        <a:pt x="547" y="531"/>
                      </a:lnTo>
                      <a:lnTo>
                        <a:pt x="531" y="529"/>
                      </a:lnTo>
                      <a:lnTo>
                        <a:pt x="533" y="539"/>
                      </a:lnTo>
                      <a:lnTo>
                        <a:pt x="548" y="541"/>
                      </a:lnTo>
                      <a:close/>
                      <a:moveTo>
                        <a:pt x="537" y="554"/>
                      </a:moveTo>
                      <a:lnTo>
                        <a:pt x="556" y="554"/>
                      </a:lnTo>
                      <a:lnTo>
                        <a:pt x="552" y="539"/>
                      </a:lnTo>
                      <a:lnTo>
                        <a:pt x="545" y="541"/>
                      </a:lnTo>
                      <a:lnTo>
                        <a:pt x="537" y="545"/>
                      </a:lnTo>
                      <a:lnTo>
                        <a:pt x="535" y="548"/>
                      </a:lnTo>
                      <a:lnTo>
                        <a:pt x="535" y="552"/>
                      </a:lnTo>
                      <a:lnTo>
                        <a:pt x="537" y="554"/>
                      </a:lnTo>
                      <a:close/>
                      <a:moveTo>
                        <a:pt x="583" y="727"/>
                      </a:moveTo>
                      <a:lnTo>
                        <a:pt x="568" y="729"/>
                      </a:lnTo>
                      <a:lnTo>
                        <a:pt x="575" y="744"/>
                      </a:lnTo>
                      <a:lnTo>
                        <a:pt x="585" y="740"/>
                      </a:lnTo>
                      <a:lnTo>
                        <a:pt x="583" y="727"/>
                      </a:lnTo>
                      <a:close/>
                      <a:moveTo>
                        <a:pt x="493" y="698"/>
                      </a:moveTo>
                      <a:lnTo>
                        <a:pt x="500" y="710"/>
                      </a:lnTo>
                      <a:lnTo>
                        <a:pt x="489" y="719"/>
                      </a:lnTo>
                      <a:lnTo>
                        <a:pt x="474" y="710"/>
                      </a:lnTo>
                      <a:lnTo>
                        <a:pt x="493" y="698"/>
                      </a:lnTo>
                      <a:close/>
                      <a:moveTo>
                        <a:pt x="439" y="784"/>
                      </a:moveTo>
                      <a:lnTo>
                        <a:pt x="428" y="800"/>
                      </a:lnTo>
                      <a:lnTo>
                        <a:pt x="437" y="802"/>
                      </a:lnTo>
                      <a:lnTo>
                        <a:pt x="449" y="794"/>
                      </a:lnTo>
                      <a:lnTo>
                        <a:pt x="439" y="784"/>
                      </a:lnTo>
                      <a:close/>
                      <a:moveTo>
                        <a:pt x="428" y="760"/>
                      </a:moveTo>
                      <a:lnTo>
                        <a:pt x="424" y="769"/>
                      </a:lnTo>
                      <a:lnTo>
                        <a:pt x="428" y="779"/>
                      </a:lnTo>
                      <a:lnTo>
                        <a:pt x="437" y="771"/>
                      </a:lnTo>
                      <a:lnTo>
                        <a:pt x="428" y="760"/>
                      </a:lnTo>
                      <a:close/>
                      <a:moveTo>
                        <a:pt x="403" y="790"/>
                      </a:moveTo>
                      <a:lnTo>
                        <a:pt x="401" y="804"/>
                      </a:lnTo>
                      <a:lnTo>
                        <a:pt x="408" y="804"/>
                      </a:lnTo>
                      <a:lnTo>
                        <a:pt x="414" y="796"/>
                      </a:lnTo>
                      <a:lnTo>
                        <a:pt x="403" y="790"/>
                      </a:lnTo>
                      <a:close/>
                      <a:moveTo>
                        <a:pt x="399" y="808"/>
                      </a:moveTo>
                      <a:lnTo>
                        <a:pt x="391" y="811"/>
                      </a:lnTo>
                      <a:lnTo>
                        <a:pt x="391" y="821"/>
                      </a:lnTo>
                      <a:lnTo>
                        <a:pt x="401" y="817"/>
                      </a:lnTo>
                      <a:lnTo>
                        <a:pt x="399" y="808"/>
                      </a:lnTo>
                      <a:close/>
                      <a:moveTo>
                        <a:pt x="385" y="825"/>
                      </a:moveTo>
                      <a:lnTo>
                        <a:pt x="406" y="831"/>
                      </a:lnTo>
                      <a:lnTo>
                        <a:pt x="414" y="827"/>
                      </a:lnTo>
                      <a:lnTo>
                        <a:pt x="410" y="819"/>
                      </a:lnTo>
                      <a:lnTo>
                        <a:pt x="431" y="809"/>
                      </a:lnTo>
                      <a:lnTo>
                        <a:pt x="441" y="819"/>
                      </a:lnTo>
                      <a:lnTo>
                        <a:pt x="426" y="838"/>
                      </a:lnTo>
                      <a:lnTo>
                        <a:pt x="431" y="846"/>
                      </a:lnTo>
                      <a:lnTo>
                        <a:pt x="437" y="848"/>
                      </a:lnTo>
                      <a:lnTo>
                        <a:pt x="433" y="861"/>
                      </a:lnTo>
                      <a:lnTo>
                        <a:pt x="449" y="861"/>
                      </a:lnTo>
                      <a:lnTo>
                        <a:pt x="451" y="871"/>
                      </a:lnTo>
                      <a:lnTo>
                        <a:pt x="443" y="877"/>
                      </a:lnTo>
                      <a:lnTo>
                        <a:pt x="418" y="878"/>
                      </a:lnTo>
                      <a:lnTo>
                        <a:pt x="429" y="880"/>
                      </a:lnTo>
                      <a:lnTo>
                        <a:pt x="443" y="880"/>
                      </a:lnTo>
                      <a:lnTo>
                        <a:pt x="443" y="894"/>
                      </a:lnTo>
                      <a:lnTo>
                        <a:pt x="435" y="905"/>
                      </a:lnTo>
                      <a:lnTo>
                        <a:pt x="431" y="900"/>
                      </a:lnTo>
                      <a:lnTo>
                        <a:pt x="424" y="902"/>
                      </a:lnTo>
                      <a:lnTo>
                        <a:pt x="418" y="898"/>
                      </a:lnTo>
                      <a:lnTo>
                        <a:pt x="414" y="900"/>
                      </a:lnTo>
                      <a:lnTo>
                        <a:pt x="405" y="902"/>
                      </a:lnTo>
                      <a:lnTo>
                        <a:pt x="401" y="896"/>
                      </a:lnTo>
                      <a:lnTo>
                        <a:pt x="393" y="902"/>
                      </a:lnTo>
                      <a:lnTo>
                        <a:pt x="391" y="888"/>
                      </a:lnTo>
                      <a:lnTo>
                        <a:pt x="381" y="873"/>
                      </a:lnTo>
                      <a:lnTo>
                        <a:pt x="376" y="875"/>
                      </a:lnTo>
                      <a:lnTo>
                        <a:pt x="368" y="861"/>
                      </a:lnTo>
                      <a:lnTo>
                        <a:pt x="364" y="857"/>
                      </a:lnTo>
                      <a:lnTo>
                        <a:pt x="360" y="859"/>
                      </a:lnTo>
                      <a:lnTo>
                        <a:pt x="360" y="867"/>
                      </a:lnTo>
                      <a:lnTo>
                        <a:pt x="355" y="869"/>
                      </a:lnTo>
                      <a:lnTo>
                        <a:pt x="347" y="865"/>
                      </a:lnTo>
                      <a:lnTo>
                        <a:pt x="347" y="855"/>
                      </a:lnTo>
                      <a:lnTo>
                        <a:pt x="339" y="855"/>
                      </a:lnTo>
                      <a:lnTo>
                        <a:pt x="334" y="850"/>
                      </a:lnTo>
                      <a:lnTo>
                        <a:pt x="339" y="842"/>
                      </a:lnTo>
                      <a:lnTo>
                        <a:pt x="351" y="823"/>
                      </a:lnTo>
                      <a:lnTo>
                        <a:pt x="360" y="819"/>
                      </a:lnTo>
                      <a:lnTo>
                        <a:pt x="370" y="834"/>
                      </a:lnTo>
                      <a:lnTo>
                        <a:pt x="381" y="834"/>
                      </a:lnTo>
                      <a:lnTo>
                        <a:pt x="385" y="825"/>
                      </a:lnTo>
                      <a:close/>
                      <a:moveTo>
                        <a:pt x="378" y="815"/>
                      </a:moveTo>
                      <a:lnTo>
                        <a:pt x="370" y="821"/>
                      </a:lnTo>
                      <a:lnTo>
                        <a:pt x="380" y="829"/>
                      </a:lnTo>
                      <a:lnTo>
                        <a:pt x="385" y="821"/>
                      </a:lnTo>
                      <a:lnTo>
                        <a:pt x="381" y="817"/>
                      </a:lnTo>
                      <a:lnTo>
                        <a:pt x="378" y="815"/>
                      </a:lnTo>
                      <a:close/>
                      <a:moveTo>
                        <a:pt x="453" y="829"/>
                      </a:moveTo>
                      <a:lnTo>
                        <a:pt x="449" y="836"/>
                      </a:lnTo>
                      <a:lnTo>
                        <a:pt x="441" y="831"/>
                      </a:lnTo>
                      <a:lnTo>
                        <a:pt x="435" y="838"/>
                      </a:lnTo>
                      <a:lnTo>
                        <a:pt x="451" y="854"/>
                      </a:lnTo>
                      <a:lnTo>
                        <a:pt x="462" y="844"/>
                      </a:lnTo>
                      <a:lnTo>
                        <a:pt x="462" y="836"/>
                      </a:lnTo>
                      <a:lnTo>
                        <a:pt x="453" y="829"/>
                      </a:lnTo>
                      <a:close/>
                      <a:moveTo>
                        <a:pt x="310" y="882"/>
                      </a:moveTo>
                      <a:lnTo>
                        <a:pt x="305" y="886"/>
                      </a:lnTo>
                      <a:lnTo>
                        <a:pt x="309" y="896"/>
                      </a:lnTo>
                      <a:lnTo>
                        <a:pt x="312" y="888"/>
                      </a:lnTo>
                      <a:lnTo>
                        <a:pt x="310" y="882"/>
                      </a:lnTo>
                      <a:close/>
                      <a:moveTo>
                        <a:pt x="380" y="907"/>
                      </a:moveTo>
                      <a:lnTo>
                        <a:pt x="366" y="917"/>
                      </a:lnTo>
                      <a:lnTo>
                        <a:pt x="364" y="932"/>
                      </a:lnTo>
                      <a:lnTo>
                        <a:pt x="368" y="944"/>
                      </a:lnTo>
                      <a:lnTo>
                        <a:pt x="378" y="944"/>
                      </a:lnTo>
                      <a:lnTo>
                        <a:pt x="387" y="953"/>
                      </a:lnTo>
                      <a:lnTo>
                        <a:pt x="395" y="957"/>
                      </a:lnTo>
                      <a:lnTo>
                        <a:pt x="406" y="961"/>
                      </a:lnTo>
                      <a:lnTo>
                        <a:pt x="408" y="949"/>
                      </a:lnTo>
                      <a:lnTo>
                        <a:pt x="420" y="948"/>
                      </a:lnTo>
                      <a:lnTo>
                        <a:pt x="420" y="942"/>
                      </a:lnTo>
                      <a:lnTo>
                        <a:pt x="405" y="942"/>
                      </a:lnTo>
                      <a:lnTo>
                        <a:pt x="401" y="936"/>
                      </a:lnTo>
                      <a:lnTo>
                        <a:pt x="414" y="936"/>
                      </a:lnTo>
                      <a:lnTo>
                        <a:pt x="418" y="925"/>
                      </a:lnTo>
                      <a:lnTo>
                        <a:pt x="410" y="919"/>
                      </a:lnTo>
                      <a:lnTo>
                        <a:pt x="403" y="925"/>
                      </a:lnTo>
                      <a:lnTo>
                        <a:pt x="397" y="917"/>
                      </a:lnTo>
                      <a:lnTo>
                        <a:pt x="387" y="915"/>
                      </a:lnTo>
                      <a:lnTo>
                        <a:pt x="385" y="909"/>
                      </a:lnTo>
                      <a:lnTo>
                        <a:pt x="380" y="907"/>
                      </a:lnTo>
                      <a:close/>
                      <a:moveTo>
                        <a:pt x="378" y="955"/>
                      </a:moveTo>
                      <a:lnTo>
                        <a:pt x="362" y="957"/>
                      </a:lnTo>
                      <a:lnTo>
                        <a:pt x="355" y="961"/>
                      </a:lnTo>
                      <a:lnTo>
                        <a:pt x="360" y="969"/>
                      </a:lnTo>
                      <a:lnTo>
                        <a:pt x="366" y="978"/>
                      </a:lnTo>
                      <a:lnTo>
                        <a:pt x="364" y="990"/>
                      </a:lnTo>
                      <a:lnTo>
                        <a:pt x="358" y="994"/>
                      </a:lnTo>
                      <a:lnTo>
                        <a:pt x="360" y="1005"/>
                      </a:lnTo>
                      <a:lnTo>
                        <a:pt x="355" y="1013"/>
                      </a:lnTo>
                      <a:lnTo>
                        <a:pt x="351" y="1026"/>
                      </a:lnTo>
                      <a:lnTo>
                        <a:pt x="343" y="1034"/>
                      </a:lnTo>
                      <a:lnTo>
                        <a:pt x="349" y="1034"/>
                      </a:lnTo>
                      <a:lnTo>
                        <a:pt x="349" y="1065"/>
                      </a:lnTo>
                      <a:lnTo>
                        <a:pt x="353" y="1072"/>
                      </a:lnTo>
                      <a:lnTo>
                        <a:pt x="353" y="1086"/>
                      </a:lnTo>
                      <a:lnTo>
                        <a:pt x="357" y="1097"/>
                      </a:lnTo>
                      <a:lnTo>
                        <a:pt x="362" y="1101"/>
                      </a:lnTo>
                      <a:lnTo>
                        <a:pt x="374" y="1105"/>
                      </a:lnTo>
                      <a:lnTo>
                        <a:pt x="380" y="1101"/>
                      </a:lnTo>
                      <a:lnTo>
                        <a:pt x="387" y="1105"/>
                      </a:lnTo>
                      <a:lnTo>
                        <a:pt x="395" y="1107"/>
                      </a:lnTo>
                      <a:lnTo>
                        <a:pt x="405" y="1101"/>
                      </a:lnTo>
                      <a:lnTo>
                        <a:pt x="395" y="1088"/>
                      </a:lnTo>
                      <a:lnTo>
                        <a:pt x="374" y="1088"/>
                      </a:lnTo>
                      <a:lnTo>
                        <a:pt x="370" y="1084"/>
                      </a:lnTo>
                      <a:lnTo>
                        <a:pt x="366" y="1076"/>
                      </a:lnTo>
                      <a:lnTo>
                        <a:pt x="374" y="1080"/>
                      </a:lnTo>
                      <a:lnTo>
                        <a:pt x="381" y="1078"/>
                      </a:lnTo>
                      <a:lnTo>
                        <a:pt x="391" y="1082"/>
                      </a:lnTo>
                      <a:lnTo>
                        <a:pt x="397" y="1078"/>
                      </a:lnTo>
                      <a:lnTo>
                        <a:pt x="397" y="1063"/>
                      </a:lnTo>
                      <a:lnTo>
                        <a:pt x="389" y="1049"/>
                      </a:lnTo>
                      <a:lnTo>
                        <a:pt x="383" y="1047"/>
                      </a:lnTo>
                      <a:lnTo>
                        <a:pt x="381" y="1040"/>
                      </a:lnTo>
                      <a:lnTo>
                        <a:pt x="370" y="1038"/>
                      </a:lnTo>
                      <a:lnTo>
                        <a:pt x="385" y="1036"/>
                      </a:lnTo>
                      <a:lnTo>
                        <a:pt x="389" y="1045"/>
                      </a:lnTo>
                      <a:lnTo>
                        <a:pt x="397" y="1043"/>
                      </a:lnTo>
                      <a:lnTo>
                        <a:pt x="397" y="1034"/>
                      </a:lnTo>
                      <a:lnTo>
                        <a:pt x="401" y="1024"/>
                      </a:lnTo>
                      <a:lnTo>
                        <a:pt x="406" y="1020"/>
                      </a:lnTo>
                      <a:lnTo>
                        <a:pt x="414" y="1017"/>
                      </a:lnTo>
                      <a:lnTo>
                        <a:pt x="414" y="1005"/>
                      </a:lnTo>
                      <a:lnTo>
                        <a:pt x="408" y="996"/>
                      </a:lnTo>
                      <a:lnTo>
                        <a:pt x="397" y="996"/>
                      </a:lnTo>
                      <a:lnTo>
                        <a:pt x="391" y="986"/>
                      </a:lnTo>
                      <a:lnTo>
                        <a:pt x="403" y="992"/>
                      </a:lnTo>
                      <a:lnTo>
                        <a:pt x="412" y="982"/>
                      </a:lnTo>
                      <a:lnTo>
                        <a:pt x="401" y="978"/>
                      </a:lnTo>
                      <a:lnTo>
                        <a:pt x="397" y="971"/>
                      </a:lnTo>
                      <a:lnTo>
                        <a:pt x="378" y="955"/>
                      </a:lnTo>
                      <a:close/>
                      <a:moveTo>
                        <a:pt x="385" y="1111"/>
                      </a:moveTo>
                      <a:lnTo>
                        <a:pt x="376" y="1114"/>
                      </a:lnTo>
                      <a:lnTo>
                        <a:pt x="378" y="1122"/>
                      </a:lnTo>
                      <a:lnTo>
                        <a:pt x="387" y="1122"/>
                      </a:lnTo>
                      <a:lnTo>
                        <a:pt x="387" y="1114"/>
                      </a:lnTo>
                      <a:lnTo>
                        <a:pt x="385" y="1111"/>
                      </a:lnTo>
                      <a:close/>
                      <a:moveTo>
                        <a:pt x="380" y="1134"/>
                      </a:moveTo>
                      <a:lnTo>
                        <a:pt x="376" y="1124"/>
                      </a:lnTo>
                      <a:lnTo>
                        <a:pt x="385" y="1124"/>
                      </a:lnTo>
                      <a:lnTo>
                        <a:pt x="383" y="1130"/>
                      </a:lnTo>
                      <a:lnTo>
                        <a:pt x="380" y="1134"/>
                      </a:lnTo>
                      <a:close/>
                      <a:moveTo>
                        <a:pt x="278" y="1235"/>
                      </a:moveTo>
                      <a:lnTo>
                        <a:pt x="270" y="1237"/>
                      </a:lnTo>
                      <a:lnTo>
                        <a:pt x="268" y="1247"/>
                      </a:lnTo>
                      <a:lnTo>
                        <a:pt x="272" y="1258"/>
                      </a:lnTo>
                      <a:lnTo>
                        <a:pt x="278" y="1258"/>
                      </a:lnTo>
                      <a:lnTo>
                        <a:pt x="276" y="1251"/>
                      </a:lnTo>
                      <a:lnTo>
                        <a:pt x="282" y="1241"/>
                      </a:lnTo>
                      <a:lnTo>
                        <a:pt x="278" y="1235"/>
                      </a:lnTo>
                      <a:close/>
                      <a:moveTo>
                        <a:pt x="291" y="1220"/>
                      </a:moveTo>
                      <a:lnTo>
                        <a:pt x="287" y="1224"/>
                      </a:lnTo>
                      <a:lnTo>
                        <a:pt x="295" y="1228"/>
                      </a:lnTo>
                      <a:lnTo>
                        <a:pt x="301" y="1226"/>
                      </a:lnTo>
                      <a:lnTo>
                        <a:pt x="297" y="1220"/>
                      </a:lnTo>
                      <a:lnTo>
                        <a:pt x="291" y="1220"/>
                      </a:lnTo>
                      <a:close/>
                      <a:moveTo>
                        <a:pt x="301" y="1180"/>
                      </a:moveTo>
                      <a:lnTo>
                        <a:pt x="320" y="1184"/>
                      </a:lnTo>
                      <a:lnTo>
                        <a:pt x="316" y="1191"/>
                      </a:lnTo>
                      <a:lnTo>
                        <a:pt x="307" y="1187"/>
                      </a:lnTo>
                      <a:lnTo>
                        <a:pt x="299" y="1187"/>
                      </a:lnTo>
                      <a:lnTo>
                        <a:pt x="301" y="1180"/>
                      </a:lnTo>
                      <a:close/>
                      <a:moveTo>
                        <a:pt x="301" y="1193"/>
                      </a:moveTo>
                      <a:lnTo>
                        <a:pt x="316" y="1193"/>
                      </a:lnTo>
                      <a:lnTo>
                        <a:pt x="303" y="1199"/>
                      </a:lnTo>
                      <a:lnTo>
                        <a:pt x="301" y="1193"/>
                      </a:lnTo>
                      <a:close/>
                      <a:moveTo>
                        <a:pt x="312" y="1201"/>
                      </a:moveTo>
                      <a:lnTo>
                        <a:pt x="307" y="1207"/>
                      </a:lnTo>
                      <a:lnTo>
                        <a:pt x="312" y="1212"/>
                      </a:lnTo>
                      <a:lnTo>
                        <a:pt x="318" y="1210"/>
                      </a:lnTo>
                      <a:lnTo>
                        <a:pt x="316" y="1205"/>
                      </a:lnTo>
                      <a:lnTo>
                        <a:pt x="312" y="1201"/>
                      </a:lnTo>
                      <a:close/>
                      <a:moveTo>
                        <a:pt x="332" y="1191"/>
                      </a:moveTo>
                      <a:lnTo>
                        <a:pt x="330" y="1201"/>
                      </a:lnTo>
                      <a:lnTo>
                        <a:pt x="335" y="1199"/>
                      </a:lnTo>
                      <a:lnTo>
                        <a:pt x="337" y="1193"/>
                      </a:lnTo>
                      <a:lnTo>
                        <a:pt x="332" y="1191"/>
                      </a:lnTo>
                      <a:close/>
                      <a:moveTo>
                        <a:pt x="307" y="1176"/>
                      </a:moveTo>
                      <a:lnTo>
                        <a:pt x="316" y="1178"/>
                      </a:lnTo>
                      <a:lnTo>
                        <a:pt x="320" y="1172"/>
                      </a:lnTo>
                      <a:lnTo>
                        <a:pt x="324" y="1180"/>
                      </a:lnTo>
                      <a:lnTo>
                        <a:pt x="339" y="1178"/>
                      </a:lnTo>
                      <a:lnTo>
                        <a:pt x="349" y="1161"/>
                      </a:lnTo>
                      <a:lnTo>
                        <a:pt x="345" y="1147"/>
                      </a:lnTo>
                      <a:lnTo>
                        <a:pt x="337" y="1139"/>
                      </a:lnTo>
                      <a:lnTo>
                        <a:pt x="326" y="1145"/>
                      </a:lnTo>
                      <a:lnTo>
                        <a:pt x="316" y="1147"/>
                      </a:lnTo>
                      <a:lnTo>
                        <a:pt x="314" y="1161"/>
                      </a:lnTo>
                      <a:lnTo>
                        <a:pt x="305" y="1162"/>
                      </a:lnTo>
                      <a:lnTo>
                        <a:pt x="307" y="1176"/>
                      </a:lnTo>
                      <a:close/>
                      <a:moveTo>
                        <a:pt x="334" y="1126"/>
                      </a:moveTo>
                      <a:lnTo>
                        <a:pt x="337" y="1138"/>
                      </a:lnTo>
                      <a:lnTo>
                        <a:pt x="345" y="1139"/>
                      </a:lnTo>
                      <a:lnTo>
                        <a:pt x="345" y="1132"/>
                      </a:lnTo>
                      <a:lnTo>
                        <a:pt x="334" y="1126"/>
                      </a:lnTo>
                      <a:close/>
                      <a:moveTo>
                        <a:pt x="351" y="1122"/>
                      </a:moveTo>
                      <a:lnTo>
                        <a:pt x="347" y="1130"/>
                      </a:lnTo>
                      <a:lnTo>
                        <a:pt x="351" y="1134"/>
                      </a:lnTo>
                      <a:lnTo>
                        <a:pt x="358" y="1130"/>
                      </a:lnTo>
                      <a:lnTo>
                        <a:pt x="351" y="1122"/>
                      </a:lnTo>
                      <a:close/>
                      <a:moveTo>
                        <a:pt x="370" y="1139"/>
                      </a:moveTo>
                      <a:lnTo>
                        <a:pt x="360" y="1151"/>
                      </a:lnTo>
                      <a:lnTo>
                        <a:pt x="366" y="1155"/>
                      </a:lnTo>
                      <a:lnTo>
                        <a:pt x="374" y="1149"/>
                      </a:lnTo>
                      <a:lnTo>
                        <a:pt x="370" y="1139"/>
                      </a:lnTo>
                      <a:close/>
                      <a:moveTo>
                        <a:pt x="355" y="1157"/>
                      </a:moveTo>
                      <a:lnTo>
                        <a:pt x="366" y="1157"/>
                      </a:lnTo>
                      <a:lnTo>
                        <a:pt x="364" y="1161"/>
                      </a:lnTo>
                      <a:lnTo>
                        <a:pt x="357" y="1161"/>
                      </a:lnTo>
                      <a:lnTo>
                        <a:pt x="355" y="1157"/>
                      </a:lnTo>
                      <a:close/>
                      <a:moveTo>
                        <a:pt x="437" y="4762"/>
                      </a:moveTo>
                      <a:lnTo>
                        <a:pt x="428" y="4752"/>
                      </a:lnTo>
                      <a:lnTo>
                        <a:pt x="416" y="4764"/>
                      </a:lnTo>
                      <a:lnTo>
                        <a:pt x="426" y="4771"/>
                      </a:lnTo>
                      <a:lnTo>
                        <a:pt x="437" y="4762"/>
                      </a:lnTo>
                      <a:close/>
                      <a:moveTo>
                        <a:pt x="420" y="4745"/>
                      </a:moveTo>
                      <a:lnTo>
                        <a:pt x="414" y="4735"/>
                      </a:lnTo>
                      <a:lnTo>
                        <a:pt x="405" y="4746"/>
                      </a:lnTo>
                      <a:lnTo>
                        <a:pt x="412" y="4754"/>
                      </a:lnTo>
                      <a:lnTo>
                        <a:pt x="420" y="4745"/>
                      </a:lnTo>
                      <a:close/>
                      <a:moveTo>
                        <a:pt x="420" y="4773"/>
                      </a:moveTo>
                      <a:lnTo>
                        <a:pt x="410" y="4769"/>
                      </a:lnTo>
                      <a:lnTo>
                        <a:pt x="410" y="4779"/>
                      </a:lnTo>
                      <a:lnTo>
                        <a:pt x="420" y="4773"/>
                      </a:lnTo>
                      <a:close/>
                      <a:moveTo>
                        <a:pt x="437" y="4743"/>
                      </a:moveTo>
                      <a:lnTo>
                        <a:pt x="435" y="4737"/>
                      </a:lnTo>
                      <a:lnTo>
                        <a:pt x="433" y="4743"/>
                      </a:lnTo>
                      <a:lnTo>
                        <a:pt x="437" y="4743"/>
                      </a:lnTo>
                      <a:close/>
                      <a:moveTo>
                        <a:pt x="431" y="4733"/>
                      </a:moveTo>
                      <a:lnTo>
                        <a:pt x="428" y="4743"/>
                      </a:lnTo>
                      <a:lnTo>
                        <a:pt x="422" y="4743"/>
                      </a:lnTo>
                      <a:lnTo>
                        <a:pt x="422" y="4735"/>
                      </a:lnTo>
                      <a:lnTo>
                        <a:pt x="431" y="4733"/>
                      </a:lnTo>
                      <a:close/>
                      <a:moveTo>
                        <a:pt x="2759" y="3912"/>
                      </a:moveTo>
                      <a:lnTo>
                        <a:pt x="2734" y="3918"/>
                      </a:lnTo>
                      <a:lnTo>
                        <a:pt x="2734" y="3929"/>
                      </a:lnTo>
                      <a:lnTo>
                        <a:pt x="2723" y="3935"/>
                      </a:lnTo>
                      <a:lnTo>
                        <a:pt x="2729" y="3946"/>
                      </a:lnTo>
                      <a:lnTo>
                        <a:pt x="2761" y="3920"/>
                      </a:lnTo>
                      <a:lnTo>
                        <a:pt x="2759" y="3912"/>
                      </a:lnTo>
                      <a:close/>
                      <a:moveTo>
                        <a:pt x="2661" y="3966"/>
                      </a:moveTo>
                      <a:lnTo>
                        <a:pt x="2638" y="3962"/>
                      </a:lnTo>
                      <a:lnTo>
                        <a:pt x="2631" y="3966"/>
                      </a:lnTo>
                      <a:lnTo>
                        <a:pt x="2631" y="3971"/>
                      </a:lnTo>
                      <a:lnTo>
                        <a:pt x="2658" y="3975"/>
                      </a:lnTo>
                      <a:lnTo>
                        <a:pt x="2661" y="3971"/>
                      </a:lnTo>
                      <a:lnTo>
                        <a:pt x="2661" y="3966"/>
                      </a:lnTo>
                      <a:close/>
                      <a:moveTo>
                        <a:pt x="2849" y="3772"/>
                      </a:moveTo>
                      <a:lnTo>
                        <a:pt x="2844" y="3772"/>
                      </a:lnTo>
                      <a:lnTo>
                        <a:pt x="2840" y="3779"/>
                      </a:lnTo>
                      <a:lnTo>
                        <a:pt x="2844" y="3781"/>
                      </a:lnTo>
                      <a:lnTo>
                        <a:pt x="2849" y="3772"/>
                      </a:lnTo>
                      <a:close/>
                      <a:moveTo>
                        <a:pt x="2775" y="3824"/>
                      </a:moveTo>
                      <a:lnTo>
                        <a:pt x="2763" y="3820"/>
                      </a:lnTo>
                      <a:lnTo>
                        <a:pt x="2744" y="3829"/>
                      </a:lnTo>
                      <a:lnTo>
                        <a:pt x="2742" y="3837"/>
                      </a:lnTo>
                      <a:lnTo>
                        <a:pt x="2757" y="3837"/>
                      </a:lnTo>
                      <a:lnTo>
                        <a:pt x="2775" y="3824"/>
                      </a:lnTo>
                      <a:close/>
                      <a:moveTo>
                        <a:pt x="1003" y="3914"/>
                      </a:moveTo>
                      <a:lnTo>
                        <a:pt x="1003" y="3908"/>
                      </a:lnTo>
                      <a:lnTo>
                        <a:pt x="988" y="3908"/>
                      </a:lnTo>
                      <a:lnTo>
                        <a:pt x="988" y="3916"/>
                      </a:lnTo>
                      <a:lnTo>
                        <a:pt x="1003" y="3914"/>
                      </a:lnTo>
                      <a:close/>
                      <a:moveTo>
                        <a:pt x="798" y="3791"/>
                      </a:moveTo>
                      <a:lnTo>
                        <a:pt x="796" y="3776"/>
                      </a:lnTo>
                      <a:lnTo>
                        <a:pt x="786" y="3783"/>
                      </a:lnTo>
                      <a:lnTo>
                        <a:pt x="790" y="3793"/>
                      </a:lnTo>
                      <a:lnTo>
                        <a:pt x="798" y="3791"/>
                      </a:lnTo>
                      <a:close/>
                      <a:moveTo>
                        <a:pt x="811" y="3845"/>
                      </a:moveTo>
                      <a:lnTo>
                        <a:pt x="800" y="3847"/>
                      </a:lnTo>
                      <a:lnTo>
                        <a:pt x="796" y="3856"/>
                      </a:lnTo>
                      <a:lnTo>
                        <a:pt x="806" y="3856"/>
                      </a:lnTo>
                      <a:lnTo>
                        <a:pt x="811" y="3845"/>
                      </a:lnTo>
                      <a:close/>
                      <a:moveTo>
                        <a:pt x="813" y="3873"/>
                      </a:moveTo>
                      <a:lnTo>
                        <a:pt x="813" y="3864"/>
                      </a:lnTo>
                      <a:lnTo>
                        <a:pt x="802" y="3870"/>
                      </a:lnTo>
                      <a:lnTo>
                        <a:pt x="808" y="3872"/>
                      </a:lnTo>
                      <a:lnTo>
                        <a:pt x="813" y="3873"/>
                      </a:lnTo>
                      <a:close/>
                      <a:moveTo>
                        <a:pt x="1218" y="3066"/>
                      </a:moveTo>
                      <a:lnTo>
                        <a:pt x="1188" y="3102"/>
                      </a:lnTo>
                      <a:lnTo>
                        <a:pt x="1163" y="3112"/>
                      </a:lnTo>
                      <a:lnTo>
                        <a:pt x="1161" y="3125"/>
                      </a:lnTo>
                      <a:lnTo>
                        <a:pt x="1132" y="3148"/>
                      </a:lnTo>
                      <a:lnTo>
                        <a:pt x="1122" y="3150"/>
                      </a:lnTo>
                      <a:lnTo>
                        <a:pt x="1118" y="3158"/>
                      </a:lnTo>
                      <a:lnTo>
                        <a:pt x="1099" y="3150"/>
                      </a:lnTo>
                      <a:lnTo>
                        <a:pt x="1107" y="3129"/>
                      </a:lnTo>
                      <a:lnTo>
                        <a:pt x="1092" y="3142"/>
                      </a:lnTo>
                      <a:lnTo>
                        <a:pt x="1086" y="3127"/>
                      </a:lnTo>
                      <a:lnTo>
                        <a:pt x="1074" y="3129"/>
                      </a:lnTo>
                      <a:lnTo>
                        <a:pt x="1072" y="3112"/>
                      </a:lnTo>
                      <a:lnTo>
                        <a:pt x="1063" y="3096"/>
                      </a:lnTo>
                      <a:lnTo>
                        <a:pt x="1053" y="3075"/>
                      </a:lnTo>
                      <a:lnTo>
                        <a:pt x="1061" y="3062"/>
                      </a:lnTo>
                      <a:lnTo>
                        <a:pt x="1051" y="3054"/>
                      </a:lnTo>
                      <a:lnTo>
                        <a:pt x="1055" y="3035"/>
                      </a:lnTo>
                      <a:lnTo>
                        <a:pt x="1057" y="3012"/>
                      </a:lnTo>
                      <a:lnTo>
                        <a:pt x="1095" y="3002"/>
                      </a:lnTo>
                      <a:lnTo>
                        <a:pt x="1117" y="3004"/>
                      </a:lnTo>
                      <a:lnTo>
                        <a:pt x="1118" y="3012"/>
                      </a:lnTo>
                      <a:lnTo>
                        <a:pt x="1138" y="3008"/>
                      </a:lnTo>
                      <a:lnTo>
                        <a:pt x="1145" y="3031"/>
                      </a:lnTo>
                      <a:lnTo>
                        <a:pt x="1138" y="3037"/>
                      </a:lnTo>
                      <a:lnTo>
                        <a:pt x="1157" y="3041"/>
                      </a:lnTo>
                      <a:lnTo>
                        <a:pt x="1163" y="3060"/>
                      </a:lnTo>
                      <a:lnTo>
                        <a:pt x="1166" y="3073"/>
                      </a:lnTo>
                      <a:lnTo>
                        <a:pt x="1184" y="3070"/>
                      </a:lnTo>
                      <a:lnTo>
                        <a:pt x="1195" y="3056"/>
                      </a:lnTo>
                      <a:lnTo>
                        <a:pt x="1201" y="3066"/>
                      </a:lnTo>
                      <a:lnTo>
                        <a:pt x="1211" y="3066"/>
                      </a:lnTo>
                      <a:lnTo>
                        <a:pt x="1218" y="3066"/>
                      </a:lnTo>
                      <a:close/>
                      <a:moveTo>
                        <a:pt x="1051" y="3095"/>
                      </a:moveTo>
                      <a:lnTo>
                        <a:pt x="1044" y="3100"/>
                      </a:lnTo>
                      <a:lnTo>
                        <a:pt x="1032" y="3085"/>
                      </a:lnTo>
                      <a:lnTo>
                        <a:pt x="1017" y="3073"/>
                      </a:lnTo>
                      <a:lnTo>
                        <a:pt x="1017" y="3054"/>
                      </a:lnTo>
                      <a:lnTo>
                        <a:pt x="1032" y="3050"/>
                      </a:lnTo>
                      <a:lnTo>
                        <a:pt x="1044" y="3066"/>
                      </a:lnTo>
                      <a:lnTo>
                        <a:pt x="1049" y="3077"/>
                      </a:lnTo>
                      <a:lnTo>
                        <a:pt x="1057" y="3091"/>
                      </a:lnTo>
                      <a:lnTo>
                        <a:pt x="1051" y="3095"/>
                      </a:lnTo>
                      <a:close/>
                      <a:moveTo>
                        <a:pt x="986" y="3338"/>
                      </a:moveTo>
                      <a:lnTo>
                        <a:pt x="978" y="3334"/>
                      </a:lnTo>
                      <a:lnTo>
                        <a:pt x="975" y="3346"/>
                      </a:lnTo>
                      <a:lnTo>
                        <a:pt x="986" y="3338"/>
                      </a:lnTo>
                      <a:close/>
                      <a:moveTo>
                        <a:pt x="1132" y="2529"/>
                      </a:moveTo>
                      <a:lnTo>
                        <a:pt x="1136" y="2507"/>
                      </a:lnTo>
                      <a:lnTo>
                        <a:pt x="1105" y="2515"/>
                      </a:lnTo>
                      <a:lnTo>
                        <a:pt x="1093" y="2529"/>
                      </a:lnTo>
                      <a:lnTo>
                        <a:pt x="1080" y="2552"/>
                      </a:lnTo>
                      <a:lnTo>
                        <a:pt x="1065" y="2580"/>
                      </a:lnTo>
                      <a:lnTo>
                        <a:pt x="1030" y="2609"/>
                      </a:lnTo>
                      <a:lnTo>
                        <a:pt x="1032" y="2624"/>
                      </a:lnTo>
                      <a:lnTo>
                        <a:pt x="1024" y="2632"/>
                      </a:lnTo>
                      <a:lnTo>
                        <a:pt x="1022" y="2655"/>
                      </a:lnTo>
                      <a:lnTo>
                        <a:pt x="1005" y="2684"/>
                      </a:lnTo>
                      <a:lnTo>
                        <a:pt x="1009" y="2692"/>
                      </a:lnTo>
                      <a:lnTo>
                        <a:pt x="1026" y="2680"/>
                      </a:lnTo>
                      <a:lnTo>
                        <a:pt x="1040" y="2692"/>
                      </a:lnTo>
                      <a:lnTo>
                        <a:pt x="1047" y="2690"/>
                      </a:lnTo>
                      <a:lnTo>
                        <a:pt x="1049" y="2697"/>
                      </a:lnTo>
                      <a:lnTo>
                        <a:pt x="1055" y="2686"/>
                      </a:lnTo>
                      <a:lnTo>
                        <a:pt x="1059" y="2676"/>
                      </a:lnTo>
                      <a:lnTo>
                        <a:pt x="1080" y="2671"/>
                      </a:lnTo>
                      <a:lnTo>
                        <a:pt x="1082" y="2663"/>
                      </a:lnTo>
                      <a:lnTo>
                        <a:pt x="1095" y="2657"/>
                      </a:lnTo>
                      <a:lnTo>
                        <a:pt x="1097" y="2647"/>
                      </a:lnTo>
                      <a:lnTo>
                        <a:pt x="1105" y="2644"/>
                      </a:lnTo>
                      <a:lnTo>
                        <a:pt x="1126" y="2630"/>
                      </a:lnTo>
                      <a:lnTo>
                        <a:pt x="1124" y="2615"/>
                      </a:lnTo>
                      <a:lnTo>
                        <a:pt x="1134" y="2611"/>
                      </a:lnTo>
                      <a:lnTo>
                        <a:pt x="1134" y="2600"/>
                      </a:lnTo>
                      <a:lnTo>
                        <a:pt x="1147" y="2584"/>
                      </a:lnTo>
                      <a:lnTo>
                        <a:pt x="1149" y="2571"/>
                      </a:lnTo>
                      <a:lnTo>
                        <a:pt x="1134" y="2569"/>
                      </a:lnTo>
                      <a:lnTo>
                        <a:pt x="1130" y="2544"/>
                      </a:lnTo>
                      <a:lnTo>
                        <a:pt x="1132" y="2529"/>
                      </a:lnTo>
                      <a:close/>
                      <a:moveTo>
                        <a:pt x="1525" y="2227"/>
                      </a:moveTo>
                      <a:lnTo>
                        <a:pt x="1521" y="2241"/>
                      </a:lnTo>
                      <a:lnTo>
                        <a:pt x="1512" y="2245"/>
                      </a:lnTo>
                      <a:lnTo>
                        <a:pt x="1514" y="2250"/>
                      </a:lnTo>
                      <a:lnTo>
                        <a:pt x="1529" y="2248"/>
                      </a:lnTo>
                      <a:lnTo>
                        <a:pt x="1518" y="2254"/>
                      </a:lnTo>
                      <a:lnTo>
                        <a:pt x="1504" y="2262"/>
                      </a:lnTo>
                      <a:lnTo>
                        <a:pt x="1487" y="2245"/>
                      </a:lnTo>
                      <a:lnTo>
                        <a:pt x="1473" y="2246"/>
                      </a:lnTo>
                      <a:lnTo>
                        <a:pt x="1449" y="2258"/>
                      </a:lnTo>
                      <a:lnTo>
                        <a:pt x="1452" y="2268"/>
                      </a:lnTo>
                      <a:lnTo>
                        <a:pt x="1468" y="2270"/>
                      </a:lnTo>
                      <a:lnTo>
                        <a:pt x="1460" y="2279"/>
                      </a:lnTo>
                      <a:lnTo>
                        <a:pt x="1452" y="2273"/>
                      </a:lnTo>
                      <a:lnTo>
                        <a:pt x="1449" y="2279"/>
                      </a:lnTo>
                      <a:lnTo>
                        <a:pt x="1458" y="2285"/>
                      </a:lnTo>
                      <a:lnTo>
                        <a:pt x="1456" y="2291"/>
                      </a:lnTo>
                      <a:lnTo>
                        <a:pt x="1443" y="2277"/>
                      </a:lnTo>
                      <a:lnTo>
                        <a:pt x="1433" y="2277"/>
                      </a:lnTo>
                      <a:lnTo>
                        <a:pt x="1422" y="2293"/>
                      </a:lnTo>
                      <a:lnTo>
                        <a:pt x="1416" y="2321"/>
                      </a:lnTo>
                      <a:lnTo>
                        <a:pt x="1412" y="2344"/>
                      </a:lnTo>
                      <a:lnTo>
                        <a:pt x="1389" y="2369"/>
                      </a:lnTo>
                      <a:lnTo>
                        <a:pt x="1376" y="2390"/>
                      </a:lnTo>
                      <a:lnTo>
                        <a:pt x="1370" y="2398"/>
                      </a:lnTo>
                      <a:lnTo>
                        <a:pt x="1370" y="2419"/>
                      </a:lnTo>
                      <a:lnTo>
                        <a:pt x="1364" y="2431"/>
                      </a:lnTo>
                      <a:lnTo>
                        <a:pt x="1364" y="2444"/>
                      </a:lnTo>
                      <a:lnTo>
                        <a:pt x="1358" y="2459"/>
                      </a:lnTo>
                      <a:lnTo>
                        <a:pt x="1347" y="2467"/>
                      </a:lnTo>
                      <a:lnTo>
                        <a:pt x="1360" y="2484"/>
                      </a:lnTo>
                      <a:lnTo>
                        <a:pt x="1381" y="2511"/>
                      </a:lnTo>
                      <a:lnTo>
                        <a:pt x="1399" y="2529"/>
                      </a:lnTo>
                      <a:lnTo>
                        <a:pt x="1412" y="2546"/>
                      </a:lnTo>
                      <a:lnTo>
                        <a:pt x="1422" y="2548"/>
                      </a:lnTo>
                      <a:lnTo>
                        <a:pt x="1412" y="2553"/>
                      </a:lnTo>
                      <a:lnTo>
                        <a:pt x="1410" y="2580"/>
                      </a:lnTo>
                      <a:lnTo>
                        <a:pt x="1441" y="2630"/>
                      </a:lnTo>
                      <a:lnTo>
                        <a:pt x="1458" y="2628"/>
                      </a:lnTo>
                      <a:lnTo>
                        <a:pt x="1460" y="2611"/>
                      </a:lnTo>
                      <a:lnTo>
                        <a:pt x="1468" y="2600"/>
                      </a:lnTo>
                      <a:lnTo>
                        <a:pt x="1473" y="2609"/>
                      </a:lnTo>
                      <a:lnTo>
                        <a:pt x="1470" y="2634"/>
                      </a:lnTo>
                      <a:lnTo>
                        <a:pt x="1458" y="2640"/>
                      </a:lnTo>
                      <a:lnTo>
                        <a:pt x="1468" y="2647"/>
                      </a:lnTo>
                      <a:lnTo>
                        <a:pt x="1464" y="2661"/>
                      </a:lnTo>
                      <a:lnTo>
                        <a:pt x="1458" y="2651"/>
                      </a:lnTo>
                      <a:lnTo>
                        <a:pt x="1452" y="2651"/>
                      </a:lnTo>
                      <a:lnTo>
                        <a:pt x="1452" y="2667"/>
                      </a:lnTo>
                      <a:lnTo>
                        <a:pt x="1473" y="2707"/>
                      </a:lnTo>
                      <a:lnTo>
                        <a:pt x="1479" y="2701"/>
                      </a:lnTo>
                      <a:lnTo>
                        <a:pt x="1468" y="2682"/>
                      </a:lnTo>
                      <a:lnTo>
                        <a:pt x="1473" y="2674"/>
                      </a:lnTo>
                      <a:lnTo>
                        <a:pt x="1483" y="2686"/>
                      </a:lnTo>
                      <a:lnTo>
                        <a:pt x="1512" y="2661"/>
                      </a:lnTo>
                      <a:lnTo>
                        <a:pt x="1520" y="2632"/>
                      </a:lnTo>
                      <a:lnTo>
                        <a:pt x="1525" y="2609"/>
                      </a:lnTo>
                      <a:lnTo>
                        <a:pt x="1531" y="2632"/>
                      </a:lnTo>
                      <a:lnTo>
                        <a:pt x="1529" y="2661"/>
                      </a:lnTo>
                      <a:lnTo>
                        <a:pt x="1543" y="2657"/>
                      </a:lnTo>
                      <a:lnTo>
                        <a:pt x="1568" y="2624"/>
                      </a:lnTo>
                      <a:lnTo>
                        <a:pt x="1596" y="2609"/>
                      </a:lnTo>
                      <a:lnTo>
                        <a:pt x="1577" y="2636"/>
                      </a:lnTo>
                      <a:lnTo>
                        <a:pt x="1583" y="2647"/>
                      </a:lnTo>
                      <a:lnTo>
                        <a:pt x="1591" y="2663"/>
                      </a:lnTo>
                      <a:lnTo>
                        <a:pt x="1585" y="2686"/>
                      </a:lnTo>
                      <a:lnTo>
                        <a:pt x="1569" y="2690"/>
                      </a:lnTo>
                      <a:lnTo>
                        <a:pt x="1554" y="2709"/>
                      </a:lnTo>
                      <a:lnTo>
                        <a:pt x="1566" y="2726"/>
                      </a:lnTo>
                      <a:lnTo>
                        <a:pt x="1581" y="2715"/>
                      </a:lnTo>
                      <a:lnTo>
                        <a:pt x="1585" y="2730"/>
                      </a:lnTo>
                      <a:lnTo>
                        <a:pt x="1571" y="2734"/>
                      </a:lnTo>
                      <a:lnTo>
                        <a:pt x="1581" y="2745"/>
                      </a:lnTo>
                      <a:lnTo>
                        <a:pt x="1571" y="2755"/>
                      </a:lnTo>
                      <a:lnTo>
                        <a:pt x="1556" y="2753"/>
                      </a:lnTo>
                      <a:lnTo>
                        <a:pt x="1537" y="2759"/>
                      </a:lnTo>
                      <a:lnTo>
                        <a:pt x="1537" y="2778"/>
                      </a:lnTo>
                      <a:lnTo>
                        <a:pt x="1546" y="2791"/>
                      </a:lnTo>
                      <a:lnTo>
                        <a:pt x="1529" y="2776"/>
                      </a:lnTo>
                      <a:lnTo>
                        <a:pt x="1525" y="2763"/>
                      </a:lnTo>
                      <a:lnTo>
                        <a:pt x="1518" y="2766"/>
                      </a:lnTo>
                      <a:lnTo>
                        <a:pt x="1518" y="2799"/>
                      </a:lnTo>
                      <a:lnTo>
                        <a:pt x="1512" y="2809"/>
                      </a:lnTo>
                      <a:lnTo>
                        <a:pt x="1510" y="2841"/>
                      </a:lnTo>
                      <a:lnTo>
                        <a:pt x="1521" y="2860"/>
                      </a:lnTo>
                      <a:lnTo>
                        <a:pt x="1543" y="2862"/>
                      </a:lnTo>
                      <a:lnTo>
                        <a:pt x="1573" y="2860"/>
                      </a:lnTo>
                      <a:lnTo>
                        <a:pt x="1562" y="2866"/>
                      </a:lnTo>
                      <a:lnTo>
                        <a:pt x="1541" y="2880"/>
                      </a:lnTo>
                      <a:lnTo>
                        <a:pt x="1512" y="2914"/>
                      </a:lnTo>
                      <a:lnTo>
                        <a:pt x="1510" y="2926"/>
                      </a:lnTo>
                      <a:lnTo>
                        <a:pt x="1495" y="2941"/>
                      </a:lnTo>
                      <a:lnTo>
                        <a:pt x="1497" y="2954"/>
                      </a:lnTo>
                      <a:lnTo>
                        <a:pt x="1508" y="2970"/>
                      </a:lnTo>
                      <a:lnTo>
                        <a:pt x="1520" y="3002"/>
                      </a:lnTo>
                      <a:lnTo>
                        <a:pt x="1537" y="3039"/>
                      </a:lnTo>
                      <a:lnTo>
                        <a:pt x="1562" y="3066"/>
                      </a:lnTo>
                      <a:lnTo>
                        <a:pt x="1585" y="3070"/>
                      </a:lnTo>
                      <a:lnTo>
                        <a:pt x="1592" y="3070"/>
                      </a:lnTo>
                      <a:lnTo>
                        <a:pt x="1596" y="3058"/>
                      </a:lnTo>
                      <a:lnTo>
                        <a:pt x="1625" y="3050"/>
                      </a:lnTo>
                      <a:lnTo>
                        <a:pt x="1635" y="3045"/>
                      </a:lnTo>
                      <a:lnTo>
                        <a:pt x="1633" y="3056"/>
                      </a:lnTo>
                      <a:lnTo>
                        <a:pt x="1615" y="3058"/>
                      </a:lnTo>
                      <a:lnTo>
                        <a:pt x="1600" y="3068"/>
                      </a:lnTo>
                      <a:lnTo>
                        <a:pt x="1602" y="3079"/>
                      </a:lnTo>
                      <a:lnTo>
                        <a:pt x="1581" y="3085"/>
                      </a:lnTo>
                      <a:lnTo>
                        <a:pt x="1550" y="3077"/>
                      </a:lnTo>
                      <a:lnTo>
                        <a:pt x="1525" y="3039"/>
                      </a:lnTo>
                      <a:lnTo>
                        <a:pt x="1516" y="3016"/>
                      </a:lnTo>
                      <a:lnTo>
                        <a:pt x="1497" y="3016"/>
                      </a:lnTo>
                      <a:lnTo>
                        <a:pt x="1468" y="3029"/>
                      </a:lnTo>
                      <a:lnTo>
                        <a:pt x="1468" y="3050"/>
                      </a:lnTo>
                      <a:lnTo>
                        <a:pt x="1497" y="3073"/>
                      </a:lnTo>
                      <a:lnTo>
                        <a:pt x="1500" y="3079"/>
                      </a:lnTo>
                      <a:lnTo>
                        <a:pt x="1504" y="3089"/>
                      </a:lnTo>
                      <a:lnTo>
                        <a:pt x="1508" y="3104"/>
                      </a:lnTo>
                      <a:lnTo>
                        <a:pt x="1508" y="3118"/>
                      </a:lnTo>
                      <a:lnTo>
                        <a:pt x="1491" y="3110"/>
                      </a:lnTo>
                      <a:lnTo>
                        <a:pt x="1441" y="3064"/>
                      </a:lnTo>
                      <a:lnTo>
                        <a:pt x="1437" y="3050"/>
                      </a:lnTo>
                      <a:lnTo>
                        <a:pt x="1425" y="3048"/>
                      </a:lnTo>
                      <a:lnTo>
                        <a:pt x="1412" y="3054"/>
                      </a:lnTo>
                      <a:lnTo>
                        <a:pt x="1393" y="3054"/>
                      </a:lnTo>
                      <a:lnTo>
                        <a:pt x="1345" y="3079"/>
                      </a:lnTo>
                      <a:lnTo>
                        <a:pt x="1312" y="3077"/>
                      </a:lnTo>
                      <a:lnTo>
                        <a:pt x="1308" y="3066"/>
                      </a:lnTo>
                      <a:lnTo>
                        <a:pt x="1303" y="3064"/>
                      </a:lnTo>
                      <a:lnTo>
                        <a:pt x="1295" y="3060"/>
                      </a:lnTo>
                      <a:lnTo>
                        <a:pt x="1285" y="3064"/>
                      </a:lnTo>
                      <a:lnTo>
                        <a:pt x="1272" y="3050"/>
                      </a:lnTo>
                      <a:lnTo>
                        <a:pt x="1264" y="3056"/>
                      </a:lnTo>
                      <a:lnTo>
                        <a:pt x="1276" y="3068"/>
                      </a:lnTo>
                      <a:lnTo>
                        <a:pt x="1276" y="3079"/>
                      </a:lnTo>
                      <a:lnTo>
                        <a:pt x="1266" y="3079"/>
                      </a:lnTo>
                      <a:lnTo>
                        <a:pt x="1241" y="3091"/>
                      </a:lnTo>
                      <a:lnTo>
                        <a:pt x="1207" y="3110"/>
                      </a:lnTo>
                      <a:lnTo>
                        <a:pt x="1191" y="3110"/>
                      </a:lnTo>
                      <a:lnTo>
                        <a:pt x="1172" y="3119"/>
                      </a:lnTo>
                      <a:lnTo>
                        <a:pt x="1166" y="3133"/>
                      </a:lnTo>
                      <a:lnTo>
                        <a:pt x="1126" y="3173"/>
                      </a:lnTo>
                      <a:lnTo>
                        <a:pt x="1122" y="3202"/>
                      </a:lnTo>
                      <a:lnTo>
                        <a:pt x="1107" y="3221"/>
                      </a:lnTo>
                      <a:lnTo>
                        <a:pt x="1093" y="3221"/>
                      </a:lnTo>
                      <a:lnTo>
                        <a:pt x="1070" y="3254"/>
                      </a:lnTo>
                      <a:lnTo>
                        <a:pt x="1047" y="3254"/>
                      </a:lnTo>
                      <a:lnTo>
                        <a:pt x="1003" y="3300"/>
                      </a:lnTo>
                      <a:lnTo>
                        <a:pt x="986" y="3323"/>
                      </a:lnTo>
                      <a:lnTo>
                        <a:pt x="996" y="3331"/>
                      </a:lnTo>
                      <a:lnTo>
                        <a:pt x="1007" y="3327"/>
                      </a:lnTo>
                      <a:lnTo>
                        <a:pt x="1022" y="3325"/>
                      </a:lnTo>
                      <a:lnTo>
                        <a:pt x="1036" y="3315"/>
                      </a:lnTo>
                      <a:lnTo>
                        <a:pt x="1051" y="3323"/>
                      </a:lnTo>
                      <a:lnTo>
                        <a:pt x="1057" y="3336"/>
                      </a:lnTo>
                      <a:lnTo>
                        <a:pt x="1072" y="3331"/>
                      </a:lnTo>
                      <a:lnTo>
                        <a:pt x="1072" y="3323"/>
                      </a:lnTo>
                      <a:lnTo>
                        <a:pt x="1069" y="3309"/>
                      </a:lnTo>
                      <a:lnTo>
                        <a:pt x="1078" y="3306"/>
                      </a:lnTo>
                      <a:lnTo>
                        <a:pt x="1080" y="3294"/>
                      </a:lnTo>
                      <a:lnTo>
                        <a:pt x="1103" y="3281"/>
                      </a:lnTo>
                      <a:lnTo>
                        <a:pt x="1118" y="3283"/>
                      </a:lnTo>
                      <a:lnTo>
                        <a:pt x="1128" y="3275"/>
                      </a:lnTo>
                      <a:lnTo>
                        <a:pt x="1157" y="3269"/>
                      </a:lnTo>
                      <a:lnTo>
                        <a:pt x="1170" y="3275"/>
                      </a:lnTo>
                      <a:lnTo>
                        <a:pt x="1184" y="3265"/>
                      </a:lnTo>
                      <a:lnTo>
                        <a:pt x="1197" y="3277"/>
                      </a:lnTo>
                      <a:lnTo>
                        <a:pt x="1176" y="3277"/>
                      </a:lnTo>
                      <a:lnTo>
                        <a:pt x="1184" y="3298"/>
                      </a:lnTo>
                      <a:lnTo>
                        <a:pt x="1182" y="3309"/>
                      </a:lnTo>
                      <a:lnTo>
                        <a:pt x="1186" y="3317"/>
                      </a:lnTo>
                      <a:lnTo>
                        <a:pt x="1176" y="3319"/>
                      </a:lnTo>
                      <a:lnTo>
                        <a:pt x="1180" y="3332"/>
                      </a:lnTo>
                      <a:lnTo>
                        <a:pt x="1201" y="3371"/>
                      </a:lnTo>
                      <a:lnTo>
                        <a:pt x="1211" y="3367"/>
                      </a:lnTo>
                      <a:lnTo>
                        <a:pt x="1214" y="3377"/>
                      </a:lnTo>
                      <a:lnTo>
                        <a:pt x="1207" y="3377"/>
                      </a:lnTo>
                      <a:lnTo>
                        <a:pt x="1203" y="3384"/>
                      </a:lnTo>
                      <a:lnTo>
                        <a:pt x="1180" y="3417"/>
                      </a:lnTo>
                      <a:lnTo>
                        <a:pt x="1180" y="3428"/>
                      </a:lnTo>
                      <a:lnTo>
                        <a:pt x="1201" y="3463"/>
                      </a:lnTo>
                      <a:lnTo>
                        <a:pt x="1209" y="3457"/>
                      </a:lnTo>
                      <a:lnTo>
                        <a:pt x="1236" y="3453"/>
                      </a:lnTo>
                      <a:lnTo>
                        <a:pt x="1216" y="3467"/>
                      </a:lnTo>
                      <a:lnTo>
                        <a:pt x="1201" y="3469"/>
                      </a:lnTo>
                      <a:lnTo>
                        <a:pt x="1205" y="3486"/>
                      </a:lnTo>
                      <a:lnTo>
                        <a:pt x="1195" y="3497"/>
                      </a:lnTo>
                      <a:lnTo>
                        <a:pt x="1189" y="3526"/>
                      </a:lnTo>
                      <a:lnTo>
                        <a:pt x="1166" y="3582"/>
                      </a:lnTo>
                      <a:lnTo>
                        <a:pt x="1143" y="3607"/>
                      </a:lnTo>
                      <a:lnTo>
                        <a:pt x="1117" y="3626"/>
                      </a:lnTo>
                      <a:lnTo>
                        <a:pt x="1103" y="3620"/>
                      </a:lnTo>
                      <a:lnTo>
                        <a:pt x="1051" y="3668"/>
                      </a:lnTo>
                      <a:lnTo>
                        <a:pt x="1044" y="3659"/>
                      </a:lnTo>
                      <a:lnTo>
                        <a:pt x="999" y="3666"/>
                      </a:lnTo>
                      <a:lnTo>
                        <a:pt x="1003" y="3678"/>
                      </a:lnTo>
                      <a:lnTo>
                        <a:pt x="988" y="3670"/>
                      </a:lnTo>
                      <a:lnTo>
                        <a:pt x="967" y="3699"/>
                      </a:lnTo>
                      <a:lnTo>
                        <a:pt x="950" y="3703"/>
                      </a:lnTo>
                      <a:lnTo>
                        <a:pt x="950" y="3712"/>
                      </a:lnTo>
                      <a:lnTo>
                        <a:pt x="940" y="3718"/>
                      </a:lnTo>
                      <a:lnTo>
                        <a:pt x="934" y="3708"/>
                      </a:lnTo>
                      <a:lnTo>
                        <a:pt x="909" y="3722"/>
                      </a:lnTo>
                      <a:lnTo>
                        <a:pt x="905" y="3707"/>
                      </a:lnTo>
                      <a:lnTo>
                        <a:pt x="877" y="3708"/>
                      </a:lnTo>
                      <a:lnTo>
                        <a:pt x="873" y="3733"/>
                      </a:lnTo>
                      <a:lnTo>
                        <a:pt x="852" y="3749"/>
                      </a:lnTo>
                      <a:lnTo>
                        <a:pt x="840" y="3747"/>
                      </a:lnTo>
                      <a:lnTo>
                        <a:pt x="823" y="3760"/>
                      </a:lnTo>
                      <a:lnTo>
                        <a:pt x="804" y="3768"/>
                      </a:lnTo>
                      <a:lnTo>
                        <a:pt x="802" y="3791"/>
                      </a:lnTo>
                      <a:lnTo>
                        <a:pt x="821" y="3787"/>
                      </a:lnTo>
                      <a:lnTo>
                        <a:pt x="848" y="3791"/>
                      </a:lnTo>
                      <a:lnTo>
                        <a:pt x="861" y="3810"/>
                      </a:lnTo>
                      <a:lnTo>
                        <a:pt x="865" y="3833"/>
                      </a:lnTo>
                      <a:lnTo>
                        <a:pt x="846" y="3837"/>
                      </a:lnTo>
                      <a:lnTo>
                        <a:pt x="832" y="3850"/>
                      </a:lnTo>
                      <a:lnTo>
                        <a:pt x="817" y="3856"/>
                      </a:lnTo>
                      <a:lnTo>
                        <a:pt x="832" y="3866"/>
                      </a:lnTo>
                      <a:lnTo>
                        <a:pt x="836" y="3883"/>
                      </a:lnTo>
                      <a:lnTo>
                        <a:pt x="844" y="3883"/>
                      </a:lnTo>
                      <a:lnTo>
                        <a:pt x="846" y="3868"/>
                      </a:lnTo>
                      <a:lnTo>
                        <a:pt x="867" y="3870"/>
                      </a:lnTo>
                      <a:lnTo>
                        <a:pt x="911" y="3873"/>
                      </a:lnTo>
                      <a:lnTo>
                        <a:pt x="925" y="3864"/>
                      </a:lnTo>
                      <a:lnTo>
                        <a:pt x="930" y="3849"/>
                      </a:lnTo>
                      <a:lnTo>
                        <a:pt x="938" y="3858"/>
                      </a:lnTo>
                      <a:lnTo>
                        <a:pt x="946" y="3866"/>
                      </a:lnTo>
                      <a:lnTo>
                        <a:pt x="944" y="3875"/>
                      </a:lnTo>
                      <a:lnTo>
                        <a:pt x="932" y="3872"/>
                      </a:lnTo>
                      <a:lnTo>
                        <a:pt x="911" y="3879"/>
                      </a:lnTo>
                      <a:lnTo>
                        <a:pt x="882" y="3883"/>
                      </a:lnTo>
                      <a:lnTo>
                        <a:pt x="875" y="3887"/>
                      </a:lnTo>
                      <a:lnTo>
                        <a:pt x="861" y="3875"/>
                      </a:lnTo>
                      <a:lnTo>
                        <a:pt x="854" y="3889"/>
                      </a:lnTo>
                      <a:lnTo>
                        <a:pt x="877" y="3904"/>
                      </a:lnTo>
                      <a:lnTo>
                        <a:pt x="875" y="3914"/>
                      </a:lnTo>
                      <a:lnTo>
                        <a:pt x="911" y="3929"/>
                      </a:lnTo>
                      <a:lnTo>
                        <a:pt x="946" y="3904"/>
                      </a:lnTo>
                      <a:lnTo>
                        <a:pt x="988" y="3900"/>
                      </a:lnTo>
                      <a:lnTo>
                        <a:pt x="994" y="3883"/>
                      </a:lnTo>
                      <a:lnTo>
                        <a:pt x="994" y="3870"/>
                      </a:lnTo>
                      <a:lnTo>
                        <a:pt x="1030" y="3860"/>
                      </a:lnTo>
                      <a:lnTo>
                        <a:pt x="1047" y="3864"/>
                      </a:lnTo>
                      <a:lnTo>
                        <a:pt x="1072" y="3868"/>
                      </a:lnTo>
                      <a:lnTo>
                        <a:pt x="1078" y="3860"/>
                      </a:lnTo>
                      <a:lnTo>
                        <a:pt x="1067" y="3849"/>
                      </a:lnTo>
                      <a:lnTo>
                        <a:pt x="1074" y="3843"/>
                      </a:lnTo>
                      <a:lnTo>
                        <a:pt x="1078" y="3850"/>
                      </a:lnTo>
                      <a:lnTo>
                        <a:pt x="1084" y="3854"/>
                      </a:lnTo>
                      <a:lnTo>
                        <a:pt x="1107" y="3820"/>
                      </a:lnTo>
                      <a:lnTo>
                        <a:pt x="1113" y="3833"/>
                      </a:lnTo>
                      <a:lnTo>
                        <a:pt x="1103" y="3839"/>
                      </a:lnTo>
                      <a:lnTo>
                        <a:pt x="1093" y="3854"/>
                      </a:lnTo>
                      <a:lnTo>
                        <a:pt x="1093" y="3864"/>
                      </a:lnTo>
                      <a:lnTo>
                        <a:pt x="1107" y="3862"/>
                      </a:lnTo>
                      <a:lnTo>
                        <a:pt x="1107" y="3870"/>
                      </a:lnTo>
                      <a:lnTo>
                        <a:pt x="1095" y="3870"/>
                      </a:lnTo>
                      <a:lnTo>
                        <a:pt x="1095" y="3879"/>
                      </a:lnTo>
                      <a:lnTo>
                        <a:pt x="1117" y="3895"/>
                      </a:lnTo>
                      <a:lnTo>
                        <a:pt x="1147" y="3891"/>
                      </a:lnTo>
                      <a:lnTo>
                        <a:pt x="1163" y="3906"/>
                      </a:lnTo>
                      <a:lnTo>
                        <a:pt x="1186" y="3904"/>
                      </a:lnTo>
                      <a:lnTo>
                        <a:pt x="1182" y="3914"/>
                      </a:lnTo>
                      <a:lnTo>
                        <a:pt x="1157" y="3925"/>
                      </a:lnTo>
                      <a:lnTo>
                        <a:pt x="1140" y="3921"/>
                      </a:lnTo>
                      <a:lnTo>
                        <a:pt x="1126" y="3914"/>
                      </a:lnTo>
                      <a:lnTo>
                        <a:pt x="1109" y="3927"/>
                      </a:lnTo>
                      <a:lnTo>
                        <a:pt x="1117" y="3939"/>
                      </a:lnTo>
                      <a:lnTo>
                        <a:pt x="1111" y="3956"/>
                      </a:lnTo>
                      <a:lnTo>
                        <a:pt x="1141" y="3962"/>
                      </a:lnTo>
                      <a:lnTo>
                        <a:pt x="1161" y="3964"/>
                      </a:lnTo>
                      <a:lnTo>
                        <a:pt x="1161" y="3952"/>
                      </a:lnTo>
                      <a:lnTo>
                        <a:pt x="1180" y="3954"/>
                      </a:lnTo>
                      <a:lnTo>
                        <a:pt x="1191" y="3952"/>
                      </a:lnTo>
                      <a:lnTo>
                        <a:pt x="1207" y="3956"/>
                      </a:lnTo>
                      <a:lnTo>
                        <a:pt x="1214" y="3950"/>
                      </a:lnTo>
                      <a:lnTo>
                        <a:pt x="1209" y="3943"/>
                      </a:lnTo>
                      <a:lnTo>
                        <a:pt x="1212" y="3935"/>
                      </a:lnTo>
                      <a:lnTo>
                        <a:pt x="1239" y="3929"/>
                      </a:lnTo>
                      <a:lnTo>
                        <a:pt x="1257" y="3927"/>
                      </a:lnTo>
                      <a:lnTo>
                        <a:pt x="1270" y="3950"/>
                      </a:lnTo>
                      <a:lnTo>
                        <a:pt x="1282" y="3981"/>
                      </a:lnTo>
                      <a:lnTo>
                        <a:pt x="1289" y="4002"/>
                      </a:lnTo>
                      <a:lnTo>
                        <a:pt x="1297" y="4004"/>
                      </a:lnTo>
                      <a:lnTo>
                        <a:pt x="1310" y="4000"/>
                      </a:lnTo>
                      <a:lnTo>
                        <a:pt x="1343" y="4044"/>
                      </a:lnTo>
                      <a:lnTo>
                        <a:pt x="1351" y="4037"/>
                      </a:lnTo>
                      <a:lnTo>
                        <a:pt x="1358" y="4044"/>
                      </a:lnTo>
                      <a:lnTo>
                        <a:pt x="1393" y="4048"/>
                      </a:lnTo>
                      <a:lnTo>
                        <a:pt x="1422" y="4048"/>
                      </a:lnTo>
                      <a:lnTo>
                        <a:pt x="1441" y="4040"/>
                      </a:lnTo>
                      <a:lnTo>
                        <a:pt x="1456" y="4044"/>
                      </a:lnTo>
                      <a:lnTo>
                        <a:pt x="1462" y="4031"/>
                      </a:lnTo>
                      <a:lnTo>
                        <a:pt x="1456" y="4012"/>
                      </a:lnTo>
                      <a:lnTo>
                        <a:pt x="1466" y="4021"/>
                      </a:lnTo>
                      <a:lnTo>
                        <a:pt x="1468" y="4012"/>
                      </a:lnTo>
                      <a:lnTo>
                        <a:pt x="1489" y="3991"/>
                      </a:lnTo>
                      <a:lnTo>
                        <a:pt x="1512" y="3981"/>
                      </a:lnTo>
                      <a:lnTo>
                        <a:pt x="1518" y="3969"/>
                      </a:lnTo>
                      <a:lnTo>
                        <a:pt x="1525" y="3977"/>
                      </a:lnTo>
                      <a:lnTo>
                        <a:pt x="1537" y="3975"/>
                      </a:lnTo>
                      <a:lnTo>
                        <a:pt x="1568" y="3971"/>
                      </a:lnTo>
                      <a:lnTo>
                        <a:pt x="1581" y="3958"/>
                      </a:lnTo>
                      <a:lnTo>
                        <a:pt x="1604" y="3952"/>
                      </a:lnTo>
                      <a:lnTo>
                        <a:pt x="1621" y="3939"/>
                      </a:lnTo>
                      <a:lnTo>
                        <a:pt x="1631" y="3925"/>
                      </a:lnTo>
                      <a:lnTo>
                        <a:pt x="1658" y="3893"/>
                      </a:lnTo>
                      <a:lnTo>
                        <a:pt x="1700" y="3856"/>
                      </a:lnTo>
                      <a:lnTo>
                        <a:pt x="1688" y="3850"/>
                      </a:lnTo>
                      <a:lnTo>
                        <a:pt x="1685" y="3839"/>
                      </a:lnTo>
                      <a:lnTo>
                        <a:pt x="1700" y="3831"/>
                      </a:lnTo>
                      <a:lnTo>
                        <a:pt x="1713" y="3841"/>
                      </a:lnTo>
                      <a:lnTo>
                        <a:pt x="1719" y="3833"/>
                      </a:lnTo>
                      <a:lnTo>
                        <a:pt x="1719" y="3850"/>
                      </a:lnTo>
                      <a:lnTo>
                        <a:pt x="1706" y="3845"/>
                      </a:lnTo>
                      <a:lnTo>
                        <a:pt x="1696" y="3839"/>
                      </a:lnTo>
                      <a:lnTo>
                        <a:pt x="1694" y="3847"/>
                      </a:lnTo>
                      <a:lnTo>
                        <a:pt x="1711" y="3854"/>
                      </a:lnTo>
                      <a:lnTo>
                        <a:pt x="1704" y="3872"/>
                      </a:lnTo>
                      <a:lnTo>
                        <a:pt x="1690" y="3873"/>
                      </a:lnTo>
                      <a:lnTo>
                        <a:pt x="1679" y="3893"/>
                      </a:lnTo>
                      <a:lnTo>
                        <a:pt x="1660" y="3908"/>
                      </a:lnTo>
                      <a:lnTo>
                        <a:pt x="1650" y="3914"/>
                      </a:lnTo>
                      <a:lnTo>
                        <a:pt x="1650" y="3927"/>
                      </a:lnTo>
                      <a:lnTo>
                        <a:pt x="1621" y="3956"/>
                      </a:lnTo>
                      <a:lnTo>
                        <a:pt x="1619" y="3968"/>
                      </a:lnTo>
                      <a:lnTo>
                        <a:pt x="1602" y="3996"/>
                      </a:lnTo>
                      <a:lnTo>
                        <a:pt x="1577" y="4004"/>
                      </a:lnTo>
                      <a:lnTo>
                        <a:pt x="1541" y="4044"/>
                      </a:lnTo>
                      <a:lnTo>
                        <a:pt x="1521" y="4048"/>
                      </a:lnTo>
                      <a:lnTo>
                        <a:pt x="1525" y="4062"/>
                      </a:lnTo>
                      <a:lnTo>
                        <a:pt x="1516" y="4063"/>
                      </a:lnTo>
                      <a:lnTo>
                        <a:pt x="1518" y="4086"/>
                      </a:lnTo>
                      <a:lnTo>
                        <a:pt x="1514" y="4094"/>
                      </a:lnTo>
                      <a:lnTo>
                        <a:pt x="1516" y="4083"/>
                      </a:lnTo>
                      <a:lnTo>
                        <a:pt x="1508" y="4081"/>
                      </a:lnTo>
                      <a:lnTo>
                        <a:pt x="1504" y="4106"/>
                      </a:lnTo>
                      <a:lnTo>
                        <a:pt x="1512" y="4117"/>
                      </a:lnTo>
                      <a:lnTo>
                        <a:pt x="1508" y="4136"/>
                      </a:lnTo>
                      <a:lnTo>
                        <a:pt x="1510" y="4148"/>
                      </a:lnTo>
                      <a:lnTo>
                        <a:pt x="1498" y="4152"/>
                      </a:lnTo>
                      <a:lnTo>
                        <a:pt x="1502" y="4146"/>
                      </a:lnTo>
                      <a:lnTo>
                        <a:pt x="1502" y="4136"/>
                      </a:lnTo>
                      <a:lnTo>
                        <a:pt x="1489" y="4146"/>
                      </a:lnTo>
                      <a:lnTo>
                        <a:pt x="1477" y="4136"/>
                      </a:lnTo>
                      <a:lnTo>
                        <a:pt x="1462" y="4140"/>
                      </a:lnTo>
                      <a:lnTo>
                        <a:pt x="1424" y="4154"/>
                      </a:lnTo>
                      <a:lnTo>
                        <a:pt x="1378" y="4146"/>
                      </a:lnTo>
                      <a:lnTo>
                        <a:pt x="1366" y="4131"/>
                      </a:lnTo>
                      <a:lnTo>
                        <a:pt x="1333" y="4131"/>
                      </a:lnTo>
                      <a:lnTo>
                        <a:pt x="1318" y="4131"/>
                      </a:lnTo>
                      <a:lnTo>
                        <a:pt x="1287" y="4131"/>
                      </a:lnTo>
                      <a:lnTo>
                        <a:pt x="1272" y="4117"/>
                      </a:lnTo>
                      <a:lnTo>
                        <a:pt x="1266" y="4127"/>
                      </a:lnTo>
                      <a:lnTo>
                        <a:pt x="1249" y="4123"/>
                      </a:lnTo>
                      <a:lnTo>
                        <a:pt x="1241" y="4129"/>
                      </a:lnTo>
                      <a:lnTo>
                        <a:pt x="1224" y="4123"/>
                      </a:lnTo>
                      <a:lnTo>
                        <a:pt x="1191" y="4133"/>
                      </a:lnTo>
                      <a:lnTo>
                        <a:pt x="1174" y="4131"/>
                      </a:lnTo>
                      <a:lnTo>
                        <a:pt x="1128" y="4142"/>
                      </a:lnTo>
                      <a:lnTo>
                        <a:pt x="1136" y="4148"/>
                      </a:lnTo>
                      <a:lnTo>
                        <a:pt x="1138" y="4157"/>
                      </a:lnTo>
                      <a:lnTo>
                        <a:pt x="1122" y="4165"/>
                      </a:lnTo>
                      <a:lnTo>
                        <a:pt x="1134" y="4194"/>
                      </a:lnTo>
                      <a:lnTo>
                        <a:pt x="1149" y="4200"/>
                      </a:lnTo>
                      <a:lnTo>
                        <a:pt x="1140" y="4211"/>
                      </a:lnTo>
                      <a:lnTo>
                        <a:pt x="1128" y="4207"/>
                      </a:lnTo>
                      <a:lnTo>
                        <a:pt x="1103" y="4240"/>
                      </a:lnTo>
                      <a:lnTo>
                        <a:pt x="1082" y="4240"/>
                      </a:lnTo>
                      <a:lnTo>
                        <a:pt x="1063" y="4228"/>
                      </a:lnTo>
                      <a:lnTo>
                        <a:pt x="1034" y="4225"/>
                      </a:lnTo>
                      <a:lnTo>
                        <a:pt x="1032" y="4269"/>
                      </a:lnTo>
                      <a:lnTo>
                        <a:pt x="1021" y="4282"/>
                      </a:lnTo>
                      <a:lnTo>
                        <a:pt x="1021" y="4340"/>
                      </a:lnTo>
                      <a:lnTo>
                        <a:pt x="988" y="4365"/>
                      </a:lnTo>
                      <a:lnTo>
                        <a:pt x="988" y="4374"/>
                      </a:lnTo>
                      <a:lnTo>
                        <a:pt x="951" y="4395"/>
                      </a:lnTo>
                      <a:lnTo>
                        <a:pt x="950" y="4411"/>
                      </a:lnTo>
                      <a:lnTo>
                        <a:pt x="934" y="4436"/>
                      </a:lnTo>
                      <a:lnTo>
                        <a:pt x="921" y="4434"/>
                      </a:lnTo>
                      <a:lnTo>
                        <a:pt x="909" y="4441"/>
                      </a:lnTo>
                      <a:lnTo>
                        <a:pt x="900" y="4432"/>
                      </a:lnTo>
                      <a:lnTo>
                        <a:pt x="890" y="4436"/>
                      </a:lnTo>
                      <a:lnTo>
                        <a:pt x="896" y="4447"/>
                      </a:lnTo>
                      <a:lnTo>
                        <a:pt x="907" y="4461"/>
                      </a:lnTo>
                      <a:lnTo>
                        <a:pt x="892" y="4466"/>
                      </a:lnTo>
                      <a:lnTo>
                        <a:pt x="888" y="4451"/>
                      </a:lnTo>
                      <a:lnTo>
                        <a:pt x="863" y="4455"/>
                      </a:lnTo>
                      <a:lnTo>
                        <a:pt x="857" y="4474"/>
                      </a:lnTo>
                      <a:lnTo>
                        <a:pt x="856" y="4501"/>
                      </a:lnTo>
                      <a:lnTo>
                        <a:pt x="848" y="4516"/>
                      </a:lnTo>
                      <a:lnTo>
                        <a:pt x="836" y="4516"/>
                      </a:lnTo>
                      <a:lnTo>
                        <a:pt x="817" y="4528"/>
                      </a:lnTo>
                      <a:lnTo>
                        <a:pt x="815" y="4551"/>
                      </a:lnTo>
                      <a:lnTo>
                        <a:pt x="802" y="4564"/>
                      </a:lnTo>
                      <a:lnTo>
                        <a:pt x="786" y="4564"/>
                      </a:lnTo>
                      <a:lnTo>
                        <a:pt x="786" y="4583"/>
                      </a:lnTo>
                      <a:lnTo>
                        <a:pt x="773" y="4589"/>
                      </a:lnTo>
                      <a:lnTo>
                        <a:pt x="758" y="4604"/>
                      </a:lnTo>
                      <a:lnTo>
                        <a:pt x="737" y="4606"/>
                      </a:lnTo>
                      <a:lnTo>
                        <a:pt x="737" y="4616"/>
                      </a:lnTo>
                      <a:lnTo>
                        <a:pt x="723" y="4629"/>
                      </a:lnTo>
                      <a:lnTo>
                        <a:pt x="702" y="4612"/>
                      </a:lnTo>
                      <a:lnTo>
                        <a:pt x="677" y="4620"/>
                      </a:lnTo>
                      <a:lnTo>
                        <a:pt x="664" y="4633"/>
                      </a:lnTo>
                      <a:lnTo>
                        <a:pt x="650" y="4635"/>
                      </a:lnTo>
                      <a:lnTo>
                        <a:pt x="633" y="4654"/>
                      </a:lnTo>
                      <a:lnTo>
                        <a:pt x="639" y="4675"/>
                      </a:lnTo>
                      <a:lnTo>
                        <a:pt x="633" y="4687"/>
                      </a:lnTo>
                      <a:lnTo>
                        <a:pt x="646" y="4704"/>
                      </a:lnTo>
                      <a:lnTo>
                        <a:pt x="677" y="4693"/>
                      </a:lnTo>
                      <a:lnTo>
                        <a:pt x="689" y="4683"/>
                      </a:lnTo>
                      <a:lnTo>
                        <a:pt x="689" y="4668"/>
                      </a:lnTo>
                      <a:lnTo>
                        <a:pt x="702" y="4662"/>
                      </a:lnTo>
                      <a:lnTo>
                        <a:pt x="717" y="4674"/>
                      </a:lnTo>
                      <a:lnTo>
                        <a:pt x="731" y="4674"/>
                      </a:lnTo>
                      <a:lnTo>
                        <a:pt x="748" y="4679"/>
                      </a:lnTo>
                      <a:lnTo>
                        <a:pt x="765" y="4699"/>
                      </a:lnTo>
                      <a:lnTo>
                        <a:pt x="767" y="4706"/>
                      </a:lnTo>
                      <a:lnTo>
                        <a:pt x="771" y="4714"/>
                      </a:lnTo>
                      <a:lnTo>
                        <a:pt x="773" y="4731"/>
                      </a:lnTo>
                      <a:lnTo>
                        <a:pt x="786" y="4750"/>
                      </a:lnTo>
                      <a:lnTo>
                        <a:pt x="800" y="4750"/>
                      </a:lnTo>
                      <a:lnTo>
                        <a:pt x="804" y="4741"/>
                      </a:lnTo>
                      <a:lnTo>
                        <a:pt x="811" y="4727"/>
                      </a:lnTo>
                      <a:lnTo>
                        <a:pt x="821" y="4731"/>
                      </a:lnTo>
                      <a:lnTo>
                        <a:pt x="829" y="4731"/>
                      </a:lnTo>
                      <a:lnTo>
                        <a:pt x="832" y="4718"/>
                      </a:lnTo>
                      <a:lnTo>
                        <a:pt x="840" y="4702"/>
                      </a:lnTo>
                      <a:lnTo>
                        <a:pt x="834" y="4687"/>
                      </a:lnTo>
                      <a:lnTo>
                        <a:pt x="823" y="4679"/>
                      </a:lnTo>
                      <a:lnTo>
                        <a:pt x="834" y="4677"/>
                      </a:lnTo>
                      <a:lnTo>
                        <a:pt x="834" y="4668"/>
                      </a:lnTo>
                      <a:lnTo>
                        <a:pt x="846" y="4656"/>
                      </a:lnTo>
                      <a:lnTo>
                        <a:pt x="836" y="4647"/>
                      </a:lnTo>
                      <a:lnTo>
                        <a:pt x="846" y="4649"/>
                      </a:lnTo>
                      <a:lnTo>
                        <a:pt x="848" y="4626"/>
                      </a:lnTo>
                      <a:lnTo>
                        <a:pt x="856" y="4633"/>
                      </a:lnTo>
                      <a:lnTo>
                        <a:pt x="854" y="4651"/>
                      </a:lnTo>
                      <a:lnTo>
                        <a:pt x="859" y="4660"/>
                      </a:lnTo>
                      <a:lnTo>
                        <a:pt x="875" y="4649"/>
                      </a:lnTo>
                      <a:lnTo>
                        <a:pt x="877" y="4629"/>
                      </a:lnTo>
                      <a:lnTo>
                        <a:pt x="884" y="4628"/>
                      </a:lnTo>
                      <a:lnTo>
                        <a:pt x="894" y="4633"/>
                      </a:lnTo>
                      <a:lnTo>
                        <a:pt x="913" y="4614"/>
                      </a:lnTo>
                      <a:lnTo>
                        <a:pt x="927" y="4622"/>
                      </a:lnTo>
                      <a:lnTo>
                        <a:pt x="938" y="4604"/>
                      </a:lnTo>
                      <a:lnTo>
                        <a:pt x="936" y="4587"/>
                      </a:lnTo>
                      <a:lnTo>
                        <a:pt x="944" y="4585"/>
                      </a:lnTo>
                      <a:lnTo>
                        <a:pt x="944" y="4578"/>
                      </a:lnTo>
                      <a:lnTo>
                        <a:pt x="946" y="4568"/>
                      </a:lnTo>
                      <a:lnTo>
                        <a:pt x="965" y="4562"/>
                      </a:lnTo>
                      <a:lnTo>
                        <a:pt x="973" y="4576"/>
                      </a:lnTo>
                      <a:lnTo>
                        <a:pt x="984" y="4570"/>
                      </a:lnTo>
                      <a:lnTo>
                        <a:pt x="1009" y="4574"/>
                      </a:lnTo>
                      <a:lnTo>
                        <a:pt x="1022" y="4570"/>
                      </a:lnTo>
                      <a:lnTo>
                        <a:pt x="1038" y="4564"/>
                      </a:lnTo>
                      <a:lnTo>
                        <a:pt x="1047" y="4555"/>
                      </a:lnTo>
                      <a:lnTo>
                        <a:pt x="1093" y="4560"/>
                      </a:lnTo>
                      <a:lnTo>
                        <a:pt x="1109" y="4572"/>
                      </a:lnTo>
                      <a:lnTo>
                        <a:pt x="1117" y="4585"/>
                      </a:lnTo>
                      <a:lnTo>
                        <a:pt x="1128" y="4580"/>
                      </a:lnTo>
                      <a:lnTo>
                        <a:pt x="1124" y="4570"/>
                      </a:lnTo>
                      <a:lnTo>
                        <a:pt x="1132" y="4568"/>
                      </a:lnTo>
                      <a:lnTo>
                        <a:pt x="1124" y="4558"/>
                      </a:lnTo>
                      <a:lnTo>
                        <a:pt x="1122" y="4553"/>
                      </a:lnTo>
                      <a:lnTo>
                        <a:pt x="1132" y="4549"/>
                      </a:lnTo>
                      <a:lnTo>
                        <a:pt x="1128" y="4545"/>
                      </a:lnTo>
                      <a:lnTo>
                        <a:pt x="1113" y="4541"/>
                      </a:lnTo>
                      <a:lnTo>
                        <a:pt x="1126" y="4537"/>
                      </a:lnTo>
                      <a:lnTo>
                        <a:pt x="1126" y="4532"/>
                      </a:lnTo>
                      <a:lnTo>
                        <a:pt x="1132" y="4530"/>
                      </a:lnTo>
                      <a:lnTo>
                        <a:pt x="1134" y="4520"/>
                      </a:lnTo>
                      <a:lnTo>
                        <a:pt x="1132" y="4510"/>
                      </a:lnTo>
                      <a:lnTo>
                        <a:pt x="1140" y="4518"/>
                      </a:lnTo>
                      <a:lnTo>
                        <a:pt x="1140" y="4530"/>
                      </a:lnTo>
                      <a:lnTo>
                        <a:pt x="1134" y="4535"/>
                      </a:lnTo>
                      <a:lnTo>
                        <a:pt x="1140" y="4558"/>
                      </a:lnTo>
                      <a:lnTo>
                        <a:pt x="1147" y="4564"/>
                      </a:lnTo>
                      <a:lnTo>
                        <a:pt x="1151" y="4580"/>
                      </a:lnTo>
                      <a:lnTo>
                        <a:pt x="1166" y="4591"/>
                      </a:lnTo>
                      <a:lnTo>
                        <a:pt x="1180" y="4593"/>
                      </a:lnTo>
                      <a:lnTo>
                        <a:pt x="1201" y="4589"/>
                      </a:lnTo>
                      <a:lnTo>
                        <a:pt x="1214" y="4597"/>
                      </a:lnTo>
                      <a:lnTo>
                        <a:pt x="1230" y="4610"/>
                      </a:lnTo>
                      <a:lnTo>
                        <a:pt x="1230" y="4622"/>
                      </a:lnTo>
                      <a:lnTo>
                        <a:pt x="1245" y="4639"/>
                      </a:lnTo>
                      <a:lnTo>
                        <a:pt x="1255" y="4639"/>
                      </a:lnTo>
                      <a:lnTo>
                        <a:pt x="1259" y="4631"/>
                      </a:lnTo>
                      <a:lnTo>
                        <a:pt x="1266" y="4635"/>
                      </a:lnTo>
                      <a:lnTo>
                        <a:pt x="1280" y="4645"/>
                      </a:lnTo>
                      <a:lnTo>
                        <a:pt x="1289" y="4637"/>
                      </a:lnTo>
                      <a:lnTo>
                        <a:pt x="1301" y="4637"/>
                      </a:lnTo>
                      <a:lnTo>
                        <a:pt x="1299" y="4628"/>
                      </a:lnTo>
                      <a:lnTo>
                        <a:pt x="1303" y="4614"/>
                      </a:lnTo>
                      <a:lnTo>
                        <a:pt x="1314" y="4589"/>
                      </a:lnTo>
                      <a:lnTo>
                        <a:pt x="1324" y="4583"/>
                      </a:lnTo>
                      <a:lnTo>
                        <a:pt x="1341" y="4572"/>
                      </a:lnTo>
                      <a:lnTo>
                        <a:pt x="1349" y="4555"/>
                      </a:lnTo>
                      <a:lnTo>
                        <a:pt x="1351" y="4547"/>
                      </a:lnTo>
                      <a:lnTo>
                        <a:pt x="1343" y="4547"/>
                      </a:lnTo>
                      <a:lnTo>
                        <a:pt x="1330" y="4541"/>
                      </a:lnTo>
                      <a:lnTo>
                        <a:pt x="1330" y="4522"/>
                      </a:lnTo>
                      <a:lnTo>
                        <a:pt x="1339" y="4514"/>
                      </a:lnTo>
                      <a:lnTo>
                        <a:pt x="1347" y="4522"/>
                      </a:lnTo>
                      <a:lnTo>
                        <a:pt x="1353" y="4512"/>
                      </a:lnTo>
                      <a:lnTo>
                        <a:pt x="1345" y="4499"/>
                      </a:lnTo>
                      <a:lnTo>
                        <a:pt x="1345" y="4478"/>
                      </a:lnTo>
                      <a:lnTo>
                        <a:pt x="1358" y="4463"/>
                      </a:lnTo>
                      <a:lnTo>
                        <a:pt x="1370" y="4445"/>
                      </a:lnTo>
                      <a:lnTo>
                        <a:pt x="1364" y="4430"/>
                      </a:lnTo>
                      <a:lnTo>
                        <a:pt x="1364" y="4409"/>
                      </a:lnTo>
                      <a:lnTo>
                        <a:pt x="1376" y="4439"/>
                      </a:lnTo>
                      <a:lnTo>
                        <a:pt x="1391" y="4439"/>
                      </a:lnTo>
                      <a:lnTo>
                        <a:pt x="1414" y="4430"/>
                      </a:lnTo>
                      <a:lnTo>
                        <a:pt x="1420" y="4416"/>
                      </a:lnTo>
                      <a:lnTo>
                        <a:pt x="1439" y="4401"/>
                      </a:lnTo>
                      <a:lnTo>
                        <a:pt x="1477" y="4401"/>
                      </a:lnTo>
                      <a:lnTo>
                        <a:pt x="1491" y="4390"/>
                      </a:lnTo>
                      <a:lnTo>
                        <a:pt x="1514" y="4392"/>
                      </a:lnTo>
                      <a:lnTo>
                        <a:pt x="1531" y="4384"/>
                      </a:lnTo>
                      <a:lnTo>
                        <a:pt x="1537" y="4374"/>
                      </a:lnTo>
                      <a:lnTo>
                        <a:pt x="1581" y="4382"/>
                      </a:lnTo>
                      <a:lnTo>
                        <a:pt x="1619" y="4409"/>
                      </a:lnTo>
                      <a:lnTo>
                        <a:pt x="1637" y="4420"/>
                      </a:lnTo>
                      <a:lnTo>
                        <a:pt x="1683" y="4463"/>
                      </a:lnTo>
                      <a:lnTo>
                        <a:pt x="1688" y="4491"/>
                      </a:lnTo>
                      <a:lnTo>
                        <a:pt x="1700" y="4476"/>
                      </a:lnTo>
                      <a:lnTo>
                        <a:pt x="1696" y="4463"/>
                      </a:lnTo>
                      <a:lnTo>
                        <a:pt x="1688" y="4463"/>
                      </a:lnTo>
                      <a:lnTo>
                        <a:pt x="1692" y="4439"/>
                      </a:lnTo>
                      <a:lnTo>
                        <a:pt x="1700" y="4432"/>
                      </a:lnTo>
                      <a:lnTo>
                        <a:pt x="1715" y="4432"/>
                      </a:lnTo>
                      <a:lnTo>
                        <a:pt x="1750" y="4439"/>
                      </a:lnTo>
                      <a:lnTo>
                        <a:pt x="1777" y="4441"/>
                      </a:lnTo>
                      <a:lnTo>
                        <a:pt x="1800" y="4449"/>
                      </a:lnTo>
                      <a:lnTo>
                        <a:pt x="1819" y="4449"/>
                      </a:lnTo>
                      <a:lnTo>
                        <a:pt x="1819" y="4463"/>
                      </a:lnTo>
                      <a:lnTo>
                        <a:pt x="1830" y="4453"/>
                      </a:lnTo>
                      <a:lnTo>
                        <a:pt x="1852" y="4445"/>
                      </a:lnTo>
                      <a:lnTo>
                        <a:pt x="1848" y="4436"/>
                      </a:lnTo>
                      <a:lnTo>
                        <a:pt x="1859" y="4430"/>
                      </a:lnTo>
                      <a:lnTo>
                        <a:pt x="1855" y="4424"/>
                      </a:lnTo>
                      <a:lnTo>
                        <a:pt x="1850" y="4411"/>
                      </a:lnTo>
                      <a:lnTo>
                        <a:pt x="1832" y="4415"/>
                      </a:lnTo>
                      <a:lnTo>
                        <a:pt x="1832" y="4405"/>
                      </a:lnTo>
                      <a:lnTo>
                        <a:pt x="1825" y="4399"/>
                      </a:lnTo>
                      <a:lnTo>
                        <a:pt x="1815" y="4405"/>
                      </a:lnTo>
                      <a:lnTo>
                        <a:pt x="1821" y="4392"/>
                      </a:lnTo>
                      <a:lnTo>
                        <a:pt x="1832" y="4384"/>
                      </a:lnTo>
                      <a:lnTo>
                        <a:pt x="1844" y="4386"/>
                      </a:lnTo>
                      <a:lnTo>
                        <a:pt x="1863" y="4403"/>
                      </a:lnTo>
                      <a:lnTo>
                        <a:pt x="1876" y="4390"/>
                      </a:lnTo>
                      <a:lnTo>
                        <a:pt x="1907" y="4388"/>
                      </a:lnTo>
                      <a:lnTo>
                        <a:pt x="1917" y="4390"/>
                      </a:lnTo>
                      <a:lnTo>
                        <a:pt x="1928" y="4380"/>
                      </a:lnTo>
                      <a:lnTo>
                        <a:pt x="1969" y="4390"/>
                      </a:lnTo>
                      <a:lnTo>
                        <a:pt x="1982" y="4376"/>
                      </a:lnTo>
                      <a:lnTo>
                        <a:pt x="1994" y="4370"/>
                      </a:lnTo>
                      <a:lnTo>
                        <a:pt x="2022" y="4363"/>
                      </a:lnTo>
                      <a:lnTo>
                        <a:pt x="2042" y="4355"/>
                      </a:lnTo>
                      <a:lnTo>
                        <a:pt x="2055" y="4338"/>
                      </a:lnTo>
                      <a:lnTo>
                        <a:pt x="2015" y="4303"/>
                      </a:lnTo>
                      <a:lnTo>
                        <a:pt x="2030" y="4305"/>
                      </a:lnTo>
                      <a:lnTo>
                        <a:pt x="2065" y="4336"/>
                      </a:lnTo>
                      <a:lnTo>
                        <a:pt x="2076" y="4334"/>
                      </a:lnTo>
                      <a:lnTo>
                        <a:pt x="2093" y="4357"/>
                      </a:lnTo>
                      <a:lnTo>
                        <a:pt x="2109" y="4359"/>
                      </a:lnTo>
                      <a:lnTo>
                        <a:pt x="2113" y="4345"/>
                      </a:lnTo>
                      <a:lnTo>
                        <a:pt x="2101" y="4334"/>
                      </a:lnTo>
                      <a:lnTo>
                        <a:pt x="2105" y="4326"/>
                      </a:lnTo>
                      <a:lnTo>
                        <a:pt x="2120" y="4334"/>
                      </a:lnTo>
                      <a:lnTo>
                        <a:pt x="2116" y="4349"/>
                      </a:lnTo>
                      <a:lnTo>
                        <a:pt x="2126" y="4359"/>
                      </a:lnTo>
                      <a:lnTo>
                        <a:pt x="2141" y="4355"/>
                      </a:lnTo>
                      <a:lnTo>
                        <a:pt x="2139" y="4330"/>
                      </a:lnTo>
                      <a:lnTo>
                        <a:pt x="2151" y="4326"/>
                      </a:lnTo>
                      <a:lnTo>
                        <a:pt x="2170" y="4324"/>
                      </a:lnTo>
                      <a:lnTo>
                        <a:pt x="2172" y="4342"/>
                      </a:lnTo>
                      <a:lnTo>
                        <a:pt x="2180" y="4342"/>
                      </a:lnTo>
                      <a:lnTo>
                        <a:pt x="2180" y="4326"/>
                      </a:lnTo>
                      <a:lnTo>
                        <a:pt x="2187" y="4324"/>
                      </a:lnTo>
                      <a:lnTo>
                        <a:pt x="2191" y="4334"/>
                      </a:lnTo>
                      <a:lnTo>
                        <a:pt x="2184" y="4355"/>
                      </a:lnTo>
                      <a:lnTo>
                        <a:pt x="2226" y="4384"/>
                      </a:lnTo>
                      <a:lnTo>
                        <a:pt x="2232" y="4367"/>
                      </a:lnTo>
                      <a:lnTo>
                        <a:pt x="2249" y="4355"/>
                      </a:lnTo>
                      <a:lnTo>
                        <a:pt x="2266" y="4355"/>
                      </a:lnTo>
                      <a:lnTo>
                        <a:pt x="2352" y="4338"/>
                      </a:lnTo>
                      <a:lnTo>
                        <a:pt x="2397" y="4326"/>
                      </a:lnTo>
                      <a:lnTo>
                        <a:pt x="2418" y="4328"/>
                      </a:lnTo>
                      <a:lnTo>
                        <a:pt x="2460" y="4342"/>
                      </a:lnTo>
                      <a:lnTo>
                        <a:pt x="2494" y="4347"/>
                      </a:lnTo>
                      <a:lnTo>
                        <a:pt x="2516" y="4361"/>
                      </a:lnTo>
                      <a:lnTo>
                        <a:pt x="2531" y="4359"/>
                      </a:lnTo>
                      <a:lnTo>
                        <a:pt x="2539" y="4368"/>
                      </a:lnTo>
                      <a:lnTo>
                        <a:pt x="2556" y="4368"/>
                      </a:lnTo>
                      <a:lnTo>
                        <a:pt x="2581" y="4344"/>
                      </a:lnTo>
                      <a:lnTo>
                        <a:pt x="2583" y="4332"/>
                      </a:lnTo>
                      <a:lnTo>
                        <a:pt x="2608" y="4319"/>
                      </a:lnTo>
                      <a:lnTo>
                        <a:pt x="2631" y="4321"/>
                      </a:lnTo>
                      <a:lnTo>
                        <a:pt x="2636" y="4311"/>
                      </a:lnTo>
                      <a:lnTo>
                        <a:pt x="2654" y="4311"/>
                      </a:lnTo>
                      <a:lnTo>
                        <a:pt x="2684" y="4294"/>
                      </a:lnTo>
                      <a:lnTo>
                        <a:pt x="2719" y="4263"/>
                      </a:lnTo>
                      <a:lnTo>
                        <a:pt x="2732" y="4267"/>
                      </a:lnTo>
                      <a:lnTo>
                        <a:pt x="2752" y="4265"/>
                      </a:lnTo>
                      <a:lnTo>
                        <a:pt x="2763" y="4269"/>
                      </a:lnTo>
                      <a:lnTo>
                        <a:pt x="2782" y="4269"/>
                      </a:lnTo>
                      <a:lnTo>
                        <a:pt x="2780" y="4255"/>
                      </a:lnTo>
                      <a:lnTo>
                        <a:pt x="2778" y="4234"/>
                      </a:lnTo>
                      <a:lnTo>
                        <a:pt x="2784" y="4217"/>
                      </a:lnTo>
                      <a:lnTo>
                        <a:pt x="2800" y="4198"/>
                      </a:lnTo>
                      <a:lnTo>
                        <a:pt x="2823" y="4188"/>
                      </a:lnTo>
                      <a:lnTo>
                        <a:pt x="2844" y="4186"/>
                      </a:lnTo>
                      <a:lnTo>
                        <a:pt x="2855" y="4173"/>
                      </a:lnTo>
                      <a:lnTo>
                        <a:pt x="2874" y="4173"/>
                      </a:lnTo>
                      <a:lnTo>
                        <a:pt x="2905" y="4152"/>
                      </a:lnTo>
                      <a:lnTo>
                        <a:pt x="2913" y="4127"/>
                      </a:lnTo>
                      <a:lnTo>
                        <a:pt x="2909" y="4092"/>
                      </a:lnTo>
                      <a:lnTo>
                        <a:pt x="2901" y="4063"/>
                      </a:lnTo>
                      <a:lnTo>
                        <a:pt x="2915" y="4058"/>
                      </a:lnTo>
                      <a:lnTo>
                        <a:pt x="2922" y="4025"/>
                      </a:lnTo>
                      <a:lnTo>
                        <a:pt x="2915" y="4019"/>
                      </a:lnTo>
                      <a:lnTo>
                        <a:pt x="2871" y="4031"/>
                      </a:lnTo>
                      <a:lnTo>
                        <a:pt x="2794" y="4038"/>
                      </a:lnTo>
                      <a:lnTo>
                        <a:pt x="2784" y="4048"/>
                      </a:lnTo>
                      <a:lnTo>
                        <a:pt x="2748" y="4054"/>
                      </a:lnTo>
                      <a:lnTo>
                        <a:pt x="2709" y="4044"/>
                      </a:lnTo>
                      <a:lnTo>
                        <a:pt x="2707" y="4035"/>
                      </a:lnTo>
                      <a:lnTo>
                        <a:pt x="2690" y="4017"/>
                      </a:lnTo>
                      <a:lnTo>
                        <a:pt x="2683" y="4021"/>
                      </a:lnTo>
                      <a:lnTo>
                        <a:pt x="2688" y="4035"/>
                      </a:lnTo>
                      <a:lnTo>
                        <a:pt x="2677" y="4038"/>
                      </a:lnTo>
                      <a:lnTo>
                        <a:pt x="2671" y="4031"/>
                      </a:lnTo>
                      <a:lnTo>
                        <a:pt x="2658" y="4037"/>
                      </a:lnTo>
                      <a:lnTo>
                        <a:pt x="2640" y="4031"/>
                      </a:lnTo>
                      <a:lnTo>
                        <a:pt x="2638" y="4023"/>
                      </a:lnTo>
                      <a:lnTo>
                        <a:pt x="2659" y="4019"/>
                      </a:lnTo>
                      <a:lnTo>
                        <a:pt x="2659" y="4008"/>
                      </a:lnTo>
                      <a:lnTo>
                        <a:pt x="2671" y="4008"/>
                      </a:lnTo>
                      <a:lnTo>
                        <a:pt x="2677" y="4014"/>
                      </a:lnTo>
                      <a:lnTo>
                        <a:pt x="2692" y="4004"/>
                      </a:lnTo>
                      <a:lnTo>
                        <a:pt x="2684" y="3992"/>
                      </a:lnTo>
                      <a:lnTo>
                        <a:pt x="2654" y="3989"/>
                      </a:lnTo>
                      <a:lnTo>
                        <a:pt x="2615" y="3985"/>
                      </a:lnTo>
                      <a:lnTo>
                        <a:pt x="2608" y="3991"/>
                      </a:lnTo>
                      <a:lnTo>
                        <a:pt x="2608" y="4002"/>
                      </a:lnTo>
                      <a:lnTo>
                        <a:pt x="2590" y="4010"/>
                      </a:lnTo>
                      <a:lnTo>
                        <a:pt x="2565" y="4008"/>
                      </a:lnTo>
                      <a:lnTo>
                        <a:pt x="2560" y="4004"/>
                      </a:lnTo>
                      <a:lnTo>
                        <a:pt x="2544" y="4008"/>
                      </a:lnTo>
                      <a:lnTo>
                        <a:pt x="2527" y="3994"/>
                      </a:lnTo>
                      <a:lnTo>
                        <a:pt x="2517" y="3992"/>
                      </a:lnTo>
                      <a:lnTo>
                        <a:pt x="2506" y="3981"/>
                      </a:lnTo>
                      <a:lnTo>
                        <a:pt x="2491" y="3979"/>
                      </a:lnTo>
                      <a:lnTo>
                        <a:pt x="2489" y="3987"/>
                      </a:lnTo>
                      <a:lnTo>
                        <a:pt x="2462" y="3983"/>
                      </a:lnTo>
                      <a:lnTo>
                        <a:pt x="2479" y="3981"/>
                      </a:lnTo>
                      <a:lnTo>
                        <a:pt x="2485" y="3973"/>
                      </a:lnTo>
                      <a:lnTo>
                        <a:pt x="2514" y="3973"/>
                      </a:lnTo>
                      <a:lnTo>
                        <a:pt x="2521" y="3987"/>
                      </a:lnTo>
                      <a:lnTo>
                        <a:pt x="2531" y="3991"/>
                      </a:lnTo>
                      <a:lnTo>
                        <a:pt x="2539" y="3994"/>
                      </a:lnTo>
                      <a:lnTo>
                        <a:pt x="2548" y="3998"/>
                      </a:lnTo>
                      <a:lnTo>
                        <a:pt x="2556" y="3996"/>
                      </a:lnTo>
                      <a:lnTo>
                        <a:pt x="2564" y="3996"/>
                      </a:lnTo>
                      <a:lnTo>
                        <a:pt x="2571" y="4004"/>
                      </a:lnTo>
                      <a:lnTo>
                        <a:pt x="2588" y="4002"/>
                      </a:lnTo>
                      <a:lnTo>
                        <a:pt x="2602" y="3996"/>
                      </a:lnTo>
                      <a:lnTo>
                        <a:pt x="2604" y="3979"/>
                      </a:lnTo>
                      <a:lnTo>
                        <a:pt x="2625" y="3973"/>
                      </a:lnTo>
                      <a:lnTo>
                        <a:pt x="2625" y="3962"/>
                      </a:lnTo>
                      <a:lnTo>
                        <a:pt x="2636" y="3956"/>
                      </a:lnTo>
                      <a:lnTo>
                        <a:pt x="2650" y="3958"/>
                      </a:lnTo>
                      <a:lnTo>
                        <a:pt x="2711" y="3966"/>
                      </a:lnTo>
                      <a:lnTo>
                        <a:pt x="2725" y="3950"/>
                      </a:lnTo>
                      <a:lnTo>
                        <a:pt x="2717" y="3943"/>
                      </a:lnTo>
                      <a:lnTo>
                        <a:pt x="2715" y="3929"/>
                      </a:lnTo>
                      <a:lnTo>
                        <a:pt x="2729" y="3927"/>
                      </a:lnTo>
                      <a:lnTo>
                        <a:pt x="2729" y="3918"/>
                      </a:lnTo>
                      <a:lnTo>
                        <a:pt x="2711" y="3918"/>
                      </a:lnTo>
                      <a:lnTo>
                        <a:pt x="2700" y="3908"/>
                      </a:lnTo>
                      <a:lnTo>
                        <a:pt x="2684" y="3914"/>
                      </a:lnTo>
                      <a:lnTo>
                        <a:pt x="2677" y="3908"/>
                      </a:lnTo>
                      <a:lnTo>
                        <a:pt x="2702" y="3902"/>
                      </a:lnTo>
                      <a:lnTo>
                        <a:pt x="2709" y="3910"/>
                      </a:lnTo>
                      <a:lnTo>
                        <a:pt x="2729" y="3914"/>
                      </a:lnTo>
                      <a:lnTo>
                        <a:pt x="2746" y="3910"/>
                      </a:lnTo>
                      <a:lnTo>
                        <a:pt x="2755" y="3904"/>
                      </a:lnTo>
                      <a:lnTo>
                        <a:pt x="2757" y="3856"/>
                      </a:lnTo>
                      <a:lnTo>
                        <a:pt x="2752" y="3850"/>
                      </a:lnTo>
                      <a:lnTo>
                        <a:pt x="2736" y="3850"/>
                      </a:lnTo>
                      <a:lnTo>
                        <a:pt x="2729" y="3864"/>
                      </a:lnTo>
                      <a:lnTo>
                        <a:pt x="2707" y="3864"/>
                      </a:lnTo>
                      <a:lnTo>
                        <a:pt x="2707" y="3872"/>
                      </a:lnTo>
                      <a:lnTo>
                        <a:pt x="2700" y="3873"/>
                      </a:lnTo>
                      <a:lnTo>
                        <a:pt x="2698" y="3868"/>
                      </a:lnTo>
                      <a:lnTo>
                        <a:pt x="2683" y="3866"/>
                      </a:lnTo>
                      <a:lnTo>
                        <a:pt x="2683" y="3858"/>
                      </a:lnTo>
                      <a:lnTo>
                        <a:pt x="2698" y="3854"/>
                      </a:lnTo>
                      <a:lnTo>
                        <a:pt x="2725" y="3852"/>
                      </a:lnTo>
                      <a:lnTo>
                        <a:pt x="2736" y="3839"/>
                      </a:lnTo>
                      <a:lnTo>
                        <a:pt x="2738" y="3827"/>
                      </a:lnTo>
                      <a:lnTo>
                        <a:pt x="2757" y="3818"/>
                      </a:lnTo>
                      <a:lnTo>
                        <a:pt x="2759" y="3801"/>
                      </a:lnTo>
                      <a:lnTo>
                        <a:pt x="2767" y="3799"/>
                      </a:lnTo>
                      <a:lnTo>
                        <a:pt x="2765" y="3812"/>
                      </a:lnTo>
                      <a:lnTo>
                        <a:pt x="2775" y="3818"/>
                      </a:lnTo>
                      <a:lnTo>
                        <a:pt x="2788" y="3806"/>
                      </a:lnTo>
                      <a:lnTo>
                        <a:pt x="2792" y="3812"/>
                      </a:lnTo>
                      <a:lnTo>
                        <a:pt x="2780" y="3829"/>
                      </a:lnTo>
                      <a:lnTo>
                        <a:pt x="2784" y="3837"/>
                      </a:lnTo>
                      <a:lnTo>
                        <a:pt x="2800" y="3833"/>
                      </a:lnTo>
                      <a:lnTo>
                        <a:pt x="2819" y="3826"/>
                      </a:lnTo>
                      <a:lnTo>
                        <a:pt x="2832" y="3820"/>
                      </a:lnTo>
                      <a:lnTo>
                        <a:pt x="2859" y="3785"/>
                      </a:lnTo>
                      <a:lnTo>
                        <a:pt x="2855" y="3774"/>
                      </a:lnTo>
                      <a:lnTo>
                        <a:pt x="2846" y="3787"/>
                      </a:lnTo>
                      <a:lnTo>
                        <a:pt x="2832" y="3781"/>
                      </a:lnTo>
                      <a:lnTo>
                        <a:pt x="2840" y="3768"/>
                      </a:lnTo>
                      <a:lnTo>
                        <a:pt x="2849" y="3766"/>
                      </a:lnTo>
                      <a:lnTo>
                        <a:pt x="2853" y="3755"/>
                      </a:lnTo>
                      <a:lnTo>
                        <a:pt x="2861" y="3747"/>
                      </a:lnTo>
                      <a:lnTo>
                        <a:pt x="2855" y="3741"/>
                      </a:lnTo>
                      <a:lnTo>
                        <a:pt x="2840" y="3745"/>
                      </a:lnTo>
                      <a:lnTo>
                        <a:pt x="2821" y="3747"/>
                      </a:lnTo>
                      <a:lnTo>
                        <a:pt x="2794" y="3747"/>
                      </a:lnTo>
                      <a:lnTo>
                        <a:pt x="2792" y="3739"/>
                      </a:lnTo>
                      <a:lnTo>
                        <a:pt x="2813" y="3735"/>
                      </a:lnTo>
                      <a:lnTo>
                        <a:pt x="2825" y="3737"/>
                      </a:lnTo>
                      <a:lnTo>
                        <a:pt x="2836" y="3737"/>
                      </a:lnTo>
                      <a:lnTo>
                        <a:pt x="2840" y="3735"/>
                      </a:lnTo>
                      <a:lnTo>
                        <a:pt x="2844" y="3737"/>
                      </a:lnTo>
                      <a:lnTo>
                        <a:pt x="2849" y="3735"/>
                      </a:lnTo>
                      <a:lnTo>
                        <a:pt x="2848" y="3724"/>
                      </a:lnTo>
                      <a:lnTo>
                        <a:pt x="2830" y="3716"/>
                      </a:lnTo>
                      <a:lnTo>
                        <a:pt x="2815" y="3707"/>
                      </a:lnTo>
                      <a:lnTo>
                        <a:pt x="2817" y="3701"/>
                      </a:lnTo>
                      <a:lnTo>
                        <a:pt x="2826" y="3708"/>
                      </a:lnTo>
                      <a:lnTo>
                        <a:pt x="2838" y="3710"/>
                      </a:lnTo>
                      <a:lnTo>
                        <a:pt x="2851" y="3720"/>
                      </a:lnTo>
                      <a:lnTo>
                        <a:pt x="2853" y="3732"/>
                      </a:lnTo>
                      <a:lnTo>
                        <a:pt x="2867" y="3739"/>
                      </a:lnTo>
                      <a:lnTo>
                        <a:pt x="2867" y="3745"/>
                      </a:lnTo>
                      <a:lnTo>
                        <a:pt x="2873" y="3741"/>
                      </a:lnTo>
                      <a:lnTo>
                        <a:pt x="2892" y="3720"/>
                      </a:lnTo>
                      <a:lnTo>
                        <a:pt x="2880" y="3712"/>
                      </a:lnTo>
                      <a:lnTo>
                        <a:pt x="2871" y="3699"/>
                      </a:lnTo>
                      <a:lnTo>
                        <a:pt x="2871" y="3695"/>
                      </a:lnTo>
                      <a:lnTo>
                        <a:pt x="2859" y="3678"/>
                      </a:lnTo>
                      <a:lnTo>
                        <a:pt x="2863" y="3674"/>
                      </a:lnTo>
                      <a:lnTo>
                        <a:pt x="2876" y="3689"/>
                      </a:lnTo>
                      <a:lnTo>
                        <a:pt x="2882" y="3705"/>
                      </a:lnTo>
                      <a:lnTo>
                        <a:pt x="2894" y="3716"/>
                      </a:lnTo>
                      <a:lnTo>
                        <a:pt x="2901" y="3708"/>
                      </a:lnTo>
                      <a:lnTo>
                        <a:pt x="2911" y="3691"/>
                      </a:lnTo>
                      <a:lnTo>
                        <a:pt x="2928" y="3678"/>
                      </a:lnTo>
                      <a:lnTo>
                        <a:pt x="2944" y="3678"/>
                      </a:lnTo>
                      <a:lnTo>
                        <a:pt x="2949" y="3666"/>
                      </a:lnTo>
                      <a:lnTo>
                        <a:pt x="2951" y="3641"/>
                      </a:lnTo>
                      <a:lnTo>
                        <a:pt x="2953" y="3624"/>
                      </a:lnTo>
                      <a:lnTo>
                        <a:pt x="2959" y="3620"/>
                      </a:lnTo>
                      <a:lnTo>
                        <a:pt x="2959" y="3567"/>
                      </a:lnTo>
                      <a:lnTo>
                        <a:pt x="2968" y="3557"/>
                      </a:lnTo>
                      <a:lnTo>
                        <a:pt x="2982" y="3520"/>
                      </a:lnTo>
                      <a:lnTo>
                        <a:pt x="2982" y="3488"/>
                      </a:lnTo>
                      <a:lnTo>
                        <a:pt x="2988" y="3482"/>
                      </a:lnTo>
                      <a:lnTo>
                        <a:pt x="2988" y="3472"/>
                      </a:lnTo>
                      <a:lnTo>
                        <a:pt x="2993" y="3467"/>
                      </a:lnTo>
                      <a:lnTo>
                        <a:pt x="2991" y="3455"/>
                      </a:lnTo>
                      <a:lnTo>
                        <a:pt x="2980" y="3436"/>
                      </a:lnTo>
                      <a:lnTo>
                        <a:pt x="2980" y="3413"/>
                      </a:lnTo>
                      <a:lnTo>
                        <a:pt x="2982" y="3402"/>
                      </a:lnTo>
                      <a:lnTo>
                        <a:pt x="2982" y="3388"/>
                      </a:lnTo>
                      <a:lnTo>
                        <a:pt x="2976" y="3361"/>
                      </a:lnTo>
                      <a:lnTo>
                        <a:pt x="2967" y="3348"/>
                      </a:lnTo>
                      <a:lnTo>
                        <a:pt x="2951" y="3329"/>
                      </a:lnTo>
                      <a:lnTo>
                        <a:pt x="2944" y="3317"/>
                      </a:lnTo>
                      <a:lnTo>
                        <a:pt x="2936" y="3317"/>
                      </a:lnTo>
                      <a:lnTo>
                        <a:pt x="2905" y="3288"/>
                      </a:lnTo>
                      <a:lnTo>
                        <a:pt x="2882" y="3271"/>
                      </a:lnTo>
                      <a:lnTo>
                        <a:pt x="2840" y="3240"/>
                      </a:lnTo>
                      <a:lnTo>
                        <a:pt x="2832" y="3240"/>
                      </a:lnTo>
                      <a:lnTo>
                        <a:pt x="2828" y="3244"/>
                      </a:lnTo>
                      <a:lnTo>
                        <a:pt x="2813" y="3244"/>
                      </a:lnTo>
                      <a:lnTo>
                        <a:pt x="2788" y="3237"/>
                      </a:lnTo>
                      <a:lnTo>
                        <a:pt x="2775" y="3238"/>
                      </a:lnTo>
                      <a:lnTo>
                        <a:pt x="2759" y="3229"/>
                      </a:lnTo>
                      <a:lnTo>
                        <a:pt x="2752" y="3229"/>
                      </a:lnTo>
                      <a:lnTo>
                        <a:pt x="2752" y="3235"/>
                      </a:lnTo>
                      <a:lnTo>
                        <a:pt x="2736" y="3237"/>
                      </a:lnTo>
                      <a:lnTo>
                        <a:pt x="2729" y="3240"/>
                      </a:lnTo>
                      <a:lnTo>
                        <a:pt x="2717" y="3237"/>
                      </a:lnTo>
                      <a:lnTo>
                        <a:pt x="2713" y="3231"/>
                      </a:lnTo>
                      <a:lnTo>
                        <a:pt x="2704" y="3231"/>
                      </a:lnTo>
                      <a:lnTo>
                        <a:pt x="2694" y="3237"/>
                      </a:lnTo>
                      <a:lnTo>
                        <a:pt x="2677" y="3233"/>
                      </a:lnTo>
                      <a:lnTo>
                        <a:pt x="2669" y="3231"/>
                      </a:lnTo>
                      <a:lnTo>
                        <a:pt x="2659" y="3227"/>
                      </a:lnTo>
                      <a:lnTo>
                        <a:pt x="2648" y="3229"/>
                      </a:lnTo>
                      <a:lnTo>
                        <a:pt x="2648" y="3237"/>
                      </a:lnTo>
                      <a:lnTo>
                        <a:pt x="2615" y="3235"/>
                      </a:lnTo>
                      <a:lnTo>
                        <a:pt x="2608" y="3237"/>
                      </a:lnTo>
                      <a:lnTo>
                        <a:pt x="2590" y="3250"/>
                      </a:lnTo>
                      <a:lnTo>
                        <a:pt x="2579" y="3288"/>
                      </a:lnTo>
                      <a:lnTo>
                        <a:pt x="2579" y="3300"/>
                      </a:lnTo>
                      <a:lnTo>
                        <a:pt x="2558" y="3317"/>
                      </a:lnTo>
                      <a:lnTo>
                        <a:pt x="2558" y="3329"/>
                      </a:lnTo>
                      <a:lnTo>
                        <a:pt x="2550" y="3329"/>
                      </a:lnTo>
                      <a:lnTo>
                        <a:pt x="2544" y="3323"/>
                      </a:lnTo>
                      <a:lnTo>
                        <a:pt x="2521" y="3329"/>
                      </a:lnTo>
                      <a:lnTo>
                        <a:pt x="2512" y="3323"/>
                      </a:lnTo>
                      <a:lnTo>
                        <a:pt x="2500" y="3309"/>
                      </a:lnTo>
                      <a:lnTo>
                        <a:pt x="2496" y="3300"/>
                      </a:lnTo>
                      <a:lnTo>
                        <a:pt x="2494" y="3292"/>
                      </a:lnTo>
                      <a:lnTo>
                        <a:pt x="2469" y="3288"/>
                      </a:lnTo>
                      <a:lnTo>
                        <a:pt x="2462" y="3284"/>
                      </a:lnTo>
                      <a:lnTo>
                        <a:pt x="2450" y="3284"/>
                      </a:lnTo>
                      <a:lnTo>
                        <a:pt x="2450" y="3275"/>
                      </a:lnTo>
                      <a:lnTo>
                        <a:pt x="2462" y="3271"/>
                      </a:lnTo>
                      <a:lnTo>
                        <a:pt x="2468" y="3250"/>
                      </a:lnTo>
                      <a:lnTo>
                        <a:pt x="2479" y="3237"/>
                      </a:lnTo>
                      <a:lnTo>
                        <a:pt x="2502" y="3212"/>
                      </a:lnTo>
                      <a:lnTo>
                        <a:pt x="2514" y="3202"/>
                      </a:lnTo>
                      <a:lnTo>
                        <a:pt x="2525" y="3187"/>
                      </a:lnTo>
                      <a:lnTo>
                        <a:pt x="2542" y="3181"/>
                      </a:lnTo>
                      <a:lnTo>
                        <a:pt x="2544" y="3146"/>
                      </a:lnTo>
                      <a:lnTo>
                        <a:pt x="2546" y="3133"/>
                      </a:lnTo>
                      <a:lnTo>
                        <a:pt x="2542" y="3108"/>
                      </a:lnTo>
                      <a:lnTo>
                        <a:pt x="2533" y="3085"/>
                      </a:lnTo>
                      <a:lnTo>
                        <a:pt x="2523" y="3060"/>
                      </a:lnTo>
                      <a:lnTo>
                        <a:pt x="2510" y="3037"/>
                      </a:lnTo>
                      <a:lnTo>
                        <a:pt x="2504" y="3024"/>
                      </a:lnTo>
                      <a:lnTo>
                        <a:pt x="2498" y="3018"/>
                      </a:lnTo>
                      <a:lnTo>
                        <a:pt x="2489" y="2995"/>
                      </a:lnTo>
                      <a:lnTo>
                        <a:pt x="2479" y="2981"/>
                      </a:lnTo>
                      <a:lnTo>
                        <a:pt x="2448" y="2970"/>
                      </a:lnTo>
                      <a:lnTo>
                        <a:pt x="2427" y="2960"/>
                      </a:lnTo>
                      <a:lnTo>
                        <a:pt x="2412" y="2939"/>
                      </a:lnTo>
                      <a:lnTo>
                        <a:pt x="2397" y="2939"/>
                      </a:lnTo>
                      <a:lnTo>
                        <a:pt x="2374" y="2910"/>
                      </a:lnTo>
                      <a:lnTo>
                        <a:pt x="2364" y="2910"/>
                      </a:lnTo>
                      <a:lnTo>
                        <a:pt x="2347" y="2885"/>
                      </a:lnTo>
                      <a:lnTo>
                        <a:pt x="2343" y="2872"/>
                      </a:lnTo>
                      <a:lnTo>
                        <a:pt x="2327" y="2870"/>
                      </a:lnTo>
                      <a:lnTo>
                        <a:pt x="2310" y="2880"/>
                      </a:lnTo>
                      <a:lnTo>
                        <a:pt x="2283" y="2885"/>
                      </a:lnTo>
                      <a:lnTo>
                        <a:pt x="2256" y="2885"/>
                      </a:lnTo>
                      <a:lnTo>
                        <a:pt x="2243" y="2876"/>
                      </a:lnTo>
                      <a:lnTo>
                        <a:pt x="2233" y="2876"/>
                      </a:lnTo>
                      <a:lnTo>
                        <a:pt x="2220" y="2880"/>
                      </a:lnTo>
                      <a:lnTo>
                        <a:pt x="2232" y="2864"/>
                      </a:lnTo>
                      <a:lnTo>
                        <a:pt x="2251" y="2862"/>
                      </a:lnTo>
                      <a:lnTo>
                        <a:pt x="2262" y="2876"/>
                      </a:lnTo>
                      <a:lnTo>
                        <a:pt x="2295" y="2872"/>
                      </a:lnTo>
                      <a:lnTo>
                        <a:pt x="2333" y="2859"/>
                      </a:lnTo>
                      <a:lnTo>
                        <a:pt x="2351" y="2860"/>
                      </a:lnTo>
                      <a:lnTo>
                        <a:pt x="2358" y="2868"/>
                      </a:lnTo>
                      <a:lnTo>
                        <a:pt x="2400" y="2910"/>
                      </a:lnTo>
                      <a:lnTo>
                        <a:pt x="2416" y="2912"/>
                      </a:lnTo>
                      <a:lnTo>
                        <a:pt x="2431" y="2905"/>
                      </a:lnTo>
                      <a:lnTo>
                        <a:pt x="2448" y="2905"/>
                      </a:lnTo>
                      <a:lnTo>
                        <a:pt x="2464" y="2910"/>
                      </a:lnTo>
                      <a:lnTo>
                        <a:pt x="2469" y="2918"/>
                      </a:lnTo>
                      <a:lnTo>
                        <a:pt x="2469" y="2903"/>
                      </a:lnTo>
                      <a:lnTo>
                        <a:pt x="2450" y="2876"/>
                      </a:lnTo>
                      <a:lnTo>
                        <a:pt x="2402" y="2811"/>
                      </a:lnTo>
                      <a:lnTo>
                        <a:pt x="2366" y="2747"/>
                      </a:lnTo>
                      <a:lnTo>
                        <a:pt x="2358" y="2713"/>
                      </a:lnTo>
                      <a:lnTo>
                        <a:pt x="2362" y="2686"/>
                      </a:lnTo>
                      <a:lnTo>
                        <a:pt x="2381" y="2674"/>
                      </a:lnTo>
                      <a:lnTo>
                        <a:pt x="2397" y="2669"/>
                      </a:lnTo>
                      <a:lnTo>
                        <a:pt x="2397" y="2661"/>
                      </a:lnTo>
                      <a:lnTo>
                        <a:pt x="2352" y="2644"/>
                      </a:lnTo>
                      <a:lnTo>
                        <a:pt x="2337" y="2632"/>
                      </a:lnTo>
                      <a:lnTo>
                        <a:pt x="2337" y="2615"/>
                      </a:lnTo>
                      <a:lnTo>
                        <a:pt x="2314" y="2603"/>
                      </a:lnTo>
                      <a:lnTo>
                        <a:pt x="2301" y="2588"/>
                      </a:lnTo>
                      <a:lnTo>
                        <a:pt x="2304" y="2578"/>
                      </a:lnTo>
                      <a:lnTo>
                        <a:pt x="2293" y="2573"/>
                      </a:lnTo>
                      <a:lnTo>
                        <a:pt x="2289" y="2553"/>
                      </a:lnTo>
                      <a:lnTo>
                        <a:pt x="2283" y="2529"/>
                      </a:lnTo>
                      <a:lnTo>
                        <a:pt x="2274" y="2521"/>
                      </a:lnTo>
                      <a:lnTo>
                        <a:pt x="2264" y="2519"/>
                      </a:lnTo>
                      <a:lnTo>
                        <a:pt x="2266" y="2505"/>
                      </a:lnTo>
                      <a:lnTo>
                        <a:pt x="2255" y="2496"/>
                      </a:lnTo>
                      <a:lnTo>
                        <a:pt x="2241" y="2482"/>
                      </a:lnTo>
                      <a:lnTo>
                        <a:pt x="2230" y="2475"/>
                      </a:lnTo>
                      <a:lnTo>
                        <a:pt x="2220" y="2477"/>
                      </a:lnTo>
                      <a:lnTo>
                        <a:pt x="2210" y="2467"/>
                      </a:lnTo>
                      <a:lnTo>
                        <a:pt x="2199" y="2461"/>
                      </a:lnTo>
                      <a:lnTo>
                        <a:pt x="2185" y="2448"/>
                      </a:lnTo>
                      <a:lnTo>
                        <a:pt x="2168" y="2444"/>
                      </a:lnTo>
                      <a:lnTo>
                        <a:pt x="2157" y="2442"/>
                      </a:lnTo>
                      <a:lnTo>
                        <a:pt x="2147" y="2435"/>
                      </a:lnTo>
                      <a:lnTo>
                        <a:pt x="2128" y="2433"/>
                      </a:lnTo>
                      <a:lnTo>
                        <a:pt x="2111" y="2419"/>
                      </a:lnTo>
                      <a:lnTo>
                        <a:pt x="2080" y="2413"/>
                      </a:lnTo>
                      <a:lnTo>
                        <a:pt x="2076" y="2402"/>
                      </a:lnTo>
                      <a:lnTo>
                        <a:pt x="2070" y="2392"/>
                      </a:lnTo>
                      <a:lnTo>
                        <a:pt x="2070" y="2385"/>
                      </a:lnTo>
                      <a:lnTo>
                        <a:pt x="2068" y="2377"/>
                      </a:lnTo>
                      <a:lnTo>
                        <a:pt x="2053" y="2364"/>
                      </a:lnTo>
                      <a:lnTo>
                        <a:pt x="2034" y="2346"/>
                      </a:lnTo>
                      <a:lnTo>
                        <a:pt x="2032" y="2323"/>
                      </a:lnTo>
                      <a:lnTo>
                        <a:pt x="2026" y="2317"/>
                      </a:lnTo>
                      <a:lnTo>
                        <a:pt x="2028" y="2308"/>
                      </a:lnTo>
                      <a:lnTo>
                        <a:pt x="2022" y="2298"/>
                      </a:lnTo>
                      <a:lnTo>
                        <a:pt x="2018" y="2245"/>
                      </a:lnTo>
                      <a:lnTo>
                        <a:pt x="2001" y="2227"/>
                      </a:lnTo>
                      <a:lnTo>
                        <a:pt x="1997" y="2210"/>
                      </a:lnTo>
                      <a:lnTo>
                        <a:pt x="1986" y="2193"/>
                      </a:lnTo>
                      <a:lnTo>
                        <a:pt x="1976" y="2174"/>
                      </a:lnTo>
                      <a:lnTo>
                        <a:pt x="1980" y="2160"/>
                      </a:lnTo>
                      <a:lnTo>
                        <a:pt x="1969" y="2151"/>
                      </a:lnTo>
                      <a:lnTo>
                        <a:pt x="1969" y="2143"/>
                      </a:lnTo>
                      <a:lnTo>
                        <a:pt x="1976" y="2131"/>
                      </a:lnTo>
                      <a:lnTo>
                        <a:pt x="1967" y="2110"/>
                      </a:lnTo>
                      <a:lnTo>
                        <a:pt x="1955" y="2095"/>
                      </a:lnTo>
                      <a:lnTo>
                        <a:pt x="1953" y="2080"/>
                      </a:lnTo>
                      <a:lnTo>
                        <a:pt x="1961" y="2068"/>
                      </a:lnTo>
                      <a:lnTo>
                        <a:pt x="1944" y="2045"/>
                      </a:lnTo>
                      <a:lnTo>
                        <a:pt x="1944" y="2034"/>
                      </a:lnTo>
                      <a:lnTo>
                        <a:pt x="1953" y="2020"/>
                      </a:lnTo>
                      <a:lnTo>
                        <a:pt x="1953" y="2007"/>
                      </a:lnTo>
                      <a:lnTo>
                        <a:pt x="1949" y="1974"/>
                      </a:lnTo>
                      <a:lnTo>
                        <a:pt x="1940" y="1970"/>
                      </a:lnTo>
                      <a:lnTo>
                        <a:pt x="1936" y="1957"/>
                      </a:lnTo>
                      <a:lnTo>
                        <a:pt x="1940" y="1949"/>
                      </a:lnTo>
                      <a:lnTo>
                        <a:pt x="1934" y="1932"/>
                      </a:lnTo>
                      <a:lnTo>
                        <a:pt x="1915" y="1915"/>
                      </a:lnTo>
                      <a:lnTo>
                        <a:pt x="1907" y="1915"/>
                      </a:lnTo>
                      <a:lnTo>
                        <a:pt x="1896" y="1920"/>
                      </a:lnTo>
                      <a:lnTo>
                        <a:pt x="1903" y="1909"/>
                      </a:lnTo>
                      <a:lnTo>
                        <a:pt x="1892" y="1905"/>
                      </a:lnTo>
                      <a:lnTo>
                        <a:pt x="1880" y="1909"/>
                      </a:lnTo>
                      <a:lnTo>
                        <a:pt x="1871" y="1892"/>
                      </a:lnTo>
                      <a:lnTo>
                        <a:pt x="1871" y="1878"/>
                      </a:lnTo>
                      <a:lnTo>
                        <a:pt x="1840" y="1847"/>
                      </a:lnTo>
                      <a:lnTo>
                        <a:pt x="1827" y="1819"/>
                      </a:lnTo>
                      <a:lnTo>
                        <a:pt x="1811" y="1786"/>
                      </a:lnTo>
                      <a:lnTo>
                        <a:pt x="1798" y="1780"/>
                      </a:lnTo>
                      <a:lnTo>
                        <a:pt x="1796" y="1767"/>
                      </a:lnTo>
                      <a:lnTo>
                        <a:pt x="1782" y="1765"/>
                      </a:lnTo>
                      <a:lnTo>
                        <a:pt x="1773" y="1759"/>
                      </a:lnTo>
                      <a:lnTo>
                        <a:pt x="1742" y="1757"/>
                      </a:lnTo>
                      <a:lnTo>
                        <a:pt x="1731" y="1750"/>
                      </a:lnTo>
                      <a:lnTo>
                        <a:pt x="1723" y="1744"/>
                      </a:lnTo>
                      <a:lnTo>
                        <a:pt x="1704" y="1727"/>
                      </a:lnTo>
                      <a:lnTo>
                        <a:pt x="1683" y="1723"/>
                      </a:lnTo>
                      <a:lnTo>
                        <a:pt x="1665" y="1723"/>
                      </a:lnTo>
                      <a:lnTo>
                        <a:pt x="1667" y="1711"/>
                      </a:lnTo>
                      <a:lnTo>
                        <a:pt x="1654" y="1692"/>
                      </a:lnTo>
                      <a:lnTo>
                        <a:pt x="1608" y="1684"/>
                      </a:lnTo>
                      <a:lnTo>
                        <a:pt x="1594" y="1696"/>
                      </a:lnTo>
                      <a:lnTo>
                        <a:pt x="1577" y="1734"/>
                      </a:lnTo>
                      <a:lnTo>
                        <a:pt x="1558" y="1732"/>
                      </a:lnTo>
                      <a:lnTo>
                        <a:pt x="1543" y="1744"/>
                      </a:lnTo>
                      <a:lnTo>
                        <a:pt x="1523" y="1744"/>
                      </a:lnTo>
                      <a:lnTo>
                        <a:pt x="1504" y="1728"/>
                      </a:lnTo>
                      <a:lnTo>
                        <a:pt x="1472" y="1727"/>
                      </a:lnTo>
                      <a:lnTo>
                        <a:pt x="1462" y="1730"/>
                      </a:lnTo>
                      <a:lnTo>
                        <a:pt x="1452" y="1719"/>
                      </a:lnTo>
                      <a:lnTo>
                        <a:pt x="1439" y="1723"/>
                      </a:lnTo>
                      <a:lnTo>
                        <a:pt x="1408" y="1717"/>
                      </a:lnTo>
                      <a:lnTo>
                        <a:pt x="1387" y="1705"/>
                      </a:lnTo>
                      <a:lnTo>
                        <a:pt x="1364" y="1713"/>
                      </a:lnTo>
                      <a:lnTo>
                        <a:pt x="1351" y="1700"/>
                      </a:lnTo>
                      <a:lnTo>
                        <a:pt x="1339" y="1702"/>
                      </a:lnTo>
                      <a:lnTo>
                        <a:pt x="1341" y="1690"/>
                      </a:lnTo>
                      <a:lnTo>
                        <a:pt x="1322" y="1659"/>
                      </a:lnTo>
                      <a:lnTo>
                        <a:pt x="1345" y="1673"/>
                      </a:lnTo>
                      <a:lnTo>
                        <a:pt x="1354" y="1692"/>
                      </a:lnTo>
                      <a:lnTo>
                        <a:pt x="1387" y="1690"/>
                      </a:lnTo>
                      <a:lnTo>
                        <a:pt x="1429" y="1709"/>
                      </a:lnTo>
                      <a:lnTo>
                        <a:pt x="1441" y="1702"/>
                      </a:lnTo>
                      <a:lnTo>
                        <a:pt x="1460" y="1702"/>
                      </a:lnTo>
                      <a:lnTo>
                        <a:pt x="1470" y="1690"/>
                      </a:lnTo>
                      <a:lnTo>
                        <a:pt x="1500" y="1686"/>
                      </a:lnTo>
                      <a:lnTo>
                        <a:pt x="1508" y="1675"/>
                      </a:lnTo>
                      <a:lnTo>
                        <a:pt x="1508" y="1661"/>
                      </a:lnTo>
                      <a:lnTo>
                        <a:pt x="1523" y="1650"/>
                      </a:lnTo>
                      <a:lnTo>
                        <a:pt x="1543" y="1636"/>
                      </a:lnTo>
                      <a:lnTo>
                        <a:pt x="1562" y="1613"/>
                      </a:lnTo>
                      <a:lnTo>
                        <a:pt x="1575" y="1613"/>
                      </a:lnTo>
                      <a:lnTo>
                        <a:pt x="1591" y="1625"/>
                      </a:lnTo>
                      <a:lnTo>
                        <a:pt x="1608" y="1625"/>
                      </a:lnTo>
                      <a:lnTo>
                        <a:pt x="1642" y="1602"/>
                      </a:lnTo>
                      <a:lnTo>
                        <a:pt x="1660" y="1590"/>
                      </a:lnTo>
                      <a:lnTo>
                        <a:pt x="1669" y="1585"/>
                      </a:lnTo>
                      <a:lnTo>
                        <a:pt x="1669" y="1577"/>
                      </a:lnTo>
                      <a:lnTo>
                        <a:pt x="1660" y="1577"/>
                      </a:lnTo>
                      <a:lnTo>
                        <a:pt x="1644" y="1560"/>
                      </a:lnTo>
                      <a:lnTo>
                        <a:pt x="1623" y="1556"/>
                      </a:lnTo>
                      <a:lnTo>
                        <a:pt x="1602" y="1542"/>
                      </a:lnTo>
                      <a:lnTo>
                        <a:pt x="1589" y="1537"/>
                      </a:lnTo>
                      <a:lnTo>
                        <a:pt x="1604" y="1533"/>
                      </a:lnTo>
                      <a:lnTo>
                        <a:pt x="1610" y="1515"/>
                      </a:lnTo>
                      <a:lnTo>
                        <a:pt x="1610" y="1496"/>
                      </a:lnTo>
                      <a:lnTo>
                        <a:pt x="1591" y="1496"/>
                      </a:lnTo>
                      <a:lnTo>
                        <a:pt x="1579" y="1492"/>
                      </a:lnTo>
                      <a:lnTo>
                        <a:pt x="1556" y="1510"/>
                      </a:lnTo>
                      <a:lnTo>
                        <a:pt x="1543" y="1510"/>
                      </a:lnTo>
                      <a:lnTo>
                        <a:pt x="1512" y="1531"/>
                      </a:lnTo>
                      <a:lnTo>
                        <a:pt x="1495" y="1539"/>
                      </a:lnTo>
                      <a:lnTo>
                        <a:pt x="1477" y="1542"/>
                      </a:lnTo>
                      <a:lnTo>
                        <a:pt x="1466" y="1535"/>
                      </a:lnTo>
                      <a:lnTo>
                        <a:pt x="1495" y="1525"/>
                      </a:lnTo>
                      <a:lnTo>
                        <a:pt x="1521" y="1496"/>
                      </a:lnTo>
                      <a:lnTo>
                        <a:pt x="1558" y="1492"/>
                      </a:lnTo>
                      <a:lnTo>
                        <a:pt x="1575" y="1483"/>
                      </a:lnTo>
                      <a:lnTo>
                        <a:pt x="1591" y="1487"/>
                      </a:lnTo>
                      <a:lnTo>
                        <a:pt x="1608" y="1477"/>
                      </a:lnTo>
                      <a:lnTo>
                        <a:pt x="1621" y="1485"/>
                      </a:lnTo>
                      <a:lnTo>
                        <a:pt x="1633" y="1481"/>
                      </a:lnTo>
                      <a:lnTo>
                        <a:pt x="1635" y="1469"/>
                      </a:lnTo>
                      <a:lnTo>
                        <a:pt x="1654" y="1458"/>
                      </a:lnTo>
                      <a:lnTo>
                        <a:pt x="1660" y="1448"/>
                      </a:lnTo>
                      <a:lnTo>
                        <a:pt x="1681" y="1435"/>
                      </a:lnTo>
                      <a:lnTo>
                        <a:pt x="1698" y="1406"/>
                      </a:lnTo>
                      <a:lnTo>
                        <a:pt x="1692" y="1395"/>
                      </a:lnTo>
                      <a:lnTo>
                        <a:pt x="1711" y="1374"/>
                      </a:lnTo>
                      <a:lnTo>
                        <a:pt x="1708" y="1358"/>
                      </a:lnTo>
                      <a:lnTo>
                        <a:pt x="1713" y="1345"/>
                      </a:lnTo>
                      <a:lnTo>
                        <a:pt x="1734" y="1324"/>
                      </a:lnTo>
                      <a:lnTo>
                        <a:pt x="1744" y="1320"/>
                      </a:lnTo>
                      <a:lnTo>
                        <a:pt x="1777" y="1272"/>
                      </a:lnTo>
                      <a:lnTo>
                        <a:pt x="1781" y="1230"/>
                      </a:lnTo>
                      <a:lnTo>
                        <a:pt x="1819" y="1155"/>
                      </a:lnTo>
                      <a:lnTo>
                        <a:pt x="1813" y="1141"/>
                      </a:lnTo>
                      <a:lnTo>
                        <a:pt x="1813" y="1116"/>
                      </a:lnTo>
                      <a:lnTo>
                        <a:pt x="1832" y="1065"/>
                      </a:lnTo>
                      <a:lnTo>
                        <a:pt x="1830" y="1040"/>
                      </a:lnTo>
                      <a:lnTo>
                        <a:pt x="1840" y="1057"/>
                      </a:lnTo>
                      <a:lnTo>
                        <a:pt x="1871" y="1022"/>
                      </a:lnTo>
                      <a:lnTo>
                        <a:pt x="1871" y="1009"/>
                      </a:lnTo>
                      <a:lnTo>
                        <a:pt x="1878" y="1005"/>
                      </a:lnTo>
                      <a:lnTo>
                        <a:pt x="1894" y="982"/>
                      </a:lnTo>
                      <a:lnTo>
                        <a:pt x="1890" y="969"/>
                      </a:lnTo>
                      <a:lnTo>
                        <a:pt x="1896" y="959"/>
                      </a:lnTo>
                      <a:lnTo>
                        <a:pt x="1888" y="948"/>
                      </a:lnTo>
                      <a:lnTo>
                        <a:pt x="1888" y="932"/>
                      </a:lnTo>
                      <a:lnTo>
                        <a:pt x="1880" y="921"/>
                      </a:lnTo>
                      <a:lnTo>
                        <a:pt x="1882" y="907"/>
                      </a:lnTo>
                      <a:lnTo>
                        <a:pt x="1865" y="894"/>
                      </a:lnTo>
                      <a:lnTo>
                        <a:pt x="1853" y="875"/>
                      </a:lnTo>
                      <a:lnTo>
                        <a:pt x="1840" y="873"/>
                      </a:lnTo>
                      <a:lnTo>
                        <a:pt x="1834" y="863"/>
                      </a:lnTo>
                      <a:lnTo>
                        <a:pt x="1798" y="863"/>
                      </a:lnTo>
                      <a:lnTo>
                        <a:pt x="1786" y="877"/>
                      </a:lnTo>
                      <a:lnTo>
                        <a:pt x="1775" y="875"/>
                      </a:lnTo>
                      <a:lnTo>
                        <a:pt x="1763" y="871"/>
                      </a:lnTo>
                      <a:lnTo>
                        <a:pt x="1756" y="863"/>
                      </a:lnTo>
                      <a:lnTo>
                        <a:pt x="1746" y="863"/>
                      </a:lnTo>
                      <a:lnTo>
                        <a:pt x="1740" y="875"/>
                      </a:lnTo>
                      <a:lnTo>
                        <a:pt x="1731" y="875"/>
                      </a:lnTo>
                      <a:lnTo>
                        <a:pt x="1723" y="878"/>
                      </a:lnTo>
                      <a:lnTo>
                        <a:pt x="1700" y="877"/>
                      </a:lnTo>
                      <a:lnTo>
                        <a:pt x="1690" y="877"/>
                      </a:lnTo>
                      <a:lnTo>
                        <a:pt x="1681" y="871"/>
                      </a:lnTo>
                      <a:lnTo>
                        <a:pt x="1660" y="869"/>
                      </a:lnTo>
                      <a:lnTo>
                        <a:pt x="1648" y="867"/>
                      </a:lnTo>
                      <a:lnTo>
                        <a:pt x="1627" y="867"/>
                      </a:lnTo>
                      <a:lnTo>
                        <a:pt x="1619" y="859"/>
                      </a:lnTo>
                      <a:lnTo>
                        <a:pt x="1596" y="854"/>
                      </a:lnTo>
                      <a:lnTo>
                        <a:pt x="1579" y="859"/>
                      </a:lnTo>
                      <a:lnTo>
                        <a:pt x="1554" y="877"/>
                      </a:lnTo>
                      <a:lnTo>
                        <a:pt x="1529" y="871"/>
                      </a:lnTo>
                      <a:lnTo>
                        <a:pt x="1497" y="854"/>
                      </a:lnTo>
                      <a:lnTo>
                        <a:pt x="1485" y="846"/>
                      </a:lnTo>
                      <a:lnTo>
                        <a:pt x="1454" y="848"/>
                      </a:lnTo>
                      <a:lnTo>
                        <a:pt x="1429" y="854"/>
                      </a:lnTo>
                      <a:lnTo>
                        <a:pt x="1427" y="869"/>
                      </a:lnTo>
                      <a:lnTo>
                        <a:pt x="1416" y="877"/>
                      </a:lnTo>
                      <a:lnTo>
                        <a:pt x="1381" y="873"/>
                      </a:lnTo>
                      <a:lnTo>
                        <a:pt x="1360" y="886"/>
                      </a:lnTo>
                      <a:lnTo>
                        <a:pt x="1353" y="886"/>
                      </a:lnTo>
                      <a:lnTo>
                        <a:pt x="1349" y="898"/>
                      </a:lnTo>
                      <a:lnTo>
                        <a:pt x="1331" y="911"/>
                      </a:lnTo>
                      <a:lnTo>
                        <a:pt x="1297" y="909"/>
                      </a:lnTo>
                      <a:lnTo>
                        <a:pt x="1280" y="907"/>
                      </a:lnTo>
                      <a:lnTo>
                        <a:pt x="1272" y="913"/>
                      </a:lnTo>
                      <a:lnTo>
                        <a:pt x="1280" y="921"/>
                      </a:lnTo>
                      <a:lnTo>
                        <a:pt x="1278" y="930"/>
                      </a:lnTo>
                      <a:lnTo>
                        <a:pt x="1260" y="938"/>
                      </a:lnTo>
                      <a:lnTo>
                        <a:pt x="1247" y="951"/>
                      </a:lnTo>
                      <a:lnTo>
                        <a:pt x="1234" y="961"/>
                      </a:lnTo>
                      <a:lnTo>
                        <a:pt x="1218" y="957"/>
                      </a:lnTo>
                      <a:lnTo>
                        <a:pt x="1188" y="961"/>
                      </a:lnTo>
                      <a:lnTo>
                        <a:pt x="1170" y="957"/>
                      </a:lnTo>
                      <a:lnTo>
                        <a:pt x="1184" y="946"/>
                      </a:lnTo>
                      <a:lnTo>
                        <a:pt x="1205" y="951"/>
                      </a:lnTo>
                      <a:lnTo>
                        <a:pt x="1228" y="949"/>
                      </a:lnTo>
                      <a:lnTo>
                        <a:pt x="1237" y="940"/>
                      </a:lnTo>
                      <a:lnTo>
                        <a:pt x="1237" y="932"/>
                      </a:lnTo>
                      <a:lnTo>
                        <a:pt x="1216" y="928"/>
                      </a:lnTo>
                      <a:lnTo>
                        <a:pt x="1237" y="926"/>
                      </a:lnTo>
                      <a:lnTo>
                        <a:pt x="1253" y="917"/>
                      </a:lnTo>
                      <a:lnTo>
                        <a:pt x="1262" y="913"/>
                      </a:lnTo>
                      <a:lnTo>
                        <a:pt x="1262" y="898"/>
                      </a:lnTo>
                      <a:lnTo>
                        <a:pt x="1289" y="871"/>
                      </a:lnTo>
                      <a:lnTo>
                        <a:pt x="1289" y="863"/>
                      </a:lnTo>
                      <a:lnTo>
                        <a:pt x="1272" y="861"/>
                      </a:lnTo>
                      <a:lnTo>
                        <a:pt x="1259" y="875"/>
                      </a:lnTo>
                      <a:lnTo>
                        <a:pt x="1247" y="865"/>
                      </a:lnTo>
                      <a:lnTo>
                        <a:pt x="1236" y="863"/>
                      </a:lnTo>
                      <a:lnTo>
                        <a:pt x="1222" y="873"/>
                      </a:lnTo>
                      <a:lnTo>
                        <a:pt x="1212" y="882"/>
                      </a:lnTo>
                      <a:lnTo>
                        <a:pt x="1176" y="913"/>
                      </a:lnTo>
                      <a:lnTo>
                        <a:pt x="1176" y="900"/>
                      </a:lnTo>
                      <a:lnTo>
                        <a:pt x="1191" y="882"/>
                      </a:lnTo>
                      <a:lnTo>
                        <a:pt x="1201" y="882"/>
                      </a:lnTo>
                      <a:lnTo>
                        <a:pt x="1212" y="863"/>
                      </a:lnTo>
                      <a:lnTo>
                        <a:pt x="1226" y="855"/>
                      </a:lnTo>
                      <a:lnTo>
                        <a:pt x="1245" y="857"/>
                      </a:lnTo>
                      <a:lnTo>
                        <a:pt x="1255" y="857"/>
                      </a:lnTo>
                      <a:lnTo>
                        <a:pt x="1270" y="840"/>
                      </a:lnTo>
                      <a:lnTo>
                        <a:pt x="1282" y="836"/>
                      </a:lnTo>
                      <a:lnTo>
                        <a:pt x="1291" y="836"/>
                      </a:lnTo>
                      <a:lnTo>
                        <a:pt x="1283" y="846"/>
                      </a:lnTo>
                      <a:lnTo>
                        <a:pt x="1289" y="855"/>
                      </a:lnTo>
                      <a:lnTo>
                        <a:pt x="1297" y="854"/>
                      </a:lnTo>
                      <a:lnTo>
                        <a:pt x="1310" y="840"/>
                      </a:lnTo>
                      <a:lnTo>
                        <a:pt x="1353" y="781"/>
                      </a:lnTo>
                      <a:lnTo>
                        <a:pt x="1354" y="771"/>
                      </a:lnTo>
                      <a:lnTo>
                        <a:pt x="1347" y="773"/>
                      </a:lnTo>
                      <a:lnTo>
                        <a:pt x="1331" y="794"/>
                      </a:lnTo>
                      <a:lnTo>
                        <a:pt x="1312" y="796"/>
                      </a:lnTo>
                      <a:lnTo>
                        <a:pt x="1314" y="788"/>
                      </a:lnTo>
                      <a:lnTo>
                        <a:pt x="1308" y="784"/>
                      </a:lnTo>
                      <a:lnTo>
                        <a:pt x="1295" y="784"/>
                      </a:lnTo>
                      <a:lnTo>
                        <a:pt x="1289" y="794"/>
                      </a:lnTo>
                      <a:lnTo>
                        <a:pt x="1274" y="792"/>
                      </a:lnTo>
                      <a:lnTo>
                        <a:pt x="1270" y="784"/>
                      </a:lnTo>
                      <a:lnTo>
                        <a:pt x="1253" y="784"/>
                      </a:lnTo>
                      <a:lnTo>
                        <a:pt x="1245" y="777"/>
                      </a:lnTo>
                      <a:lnTo>
                        <a:pt x="1214" y="775"/>
                      </a:lnTo>
                      <a:lnTo>
                        <a:pt x="1199" y="761"/>
                      </a:lnTo>
                      <a:lnTo>
                        <a:pt x="1191" y="742"/>
                      </a:lnTo>
                      <a:lnTo>
                        <a:pt x="1205" y="760"/>
                      </a:lnTo>
                      <a:lnTo>
                        <a:pt x="1218" y="769"/>
                      </a:lnTo>
                      <a:lnTo>
                        <a:pt x="1232" y="765"/>
                      </a:lnTo>
                      <a:lnTo>
                        <a:pt x="1255" y="769"/>
                      </a:lnTo>
                      <a:lnTo>
                        <a:pt x="1257" y="777"/>
                      </a:lnTo>
                      <a:lnTo>
                        <a:pt x="1264" y="779"/>
                      </a:lnTo>
                      <a:lnTo>
                        <a:pt x="1276" y="769"/>
                      </a:lnTo>
                      <a:lnTo>
                        <a:pt x="1289" y="769"/>
                      </a:lnTo>
                      <a:lnTo>
                        <a:pt x="1289" y="756"/>
                      </a:lnTo>
                      <a:lnTo>
                        <a:pt x="1299" y="748"/>
                      </a:lnTo>
                      <a:lnTo>
                        <a:pt x="1293" y="740"/>
                      </a:lnTo>
                      <a:lnTo>
                        <a:pt x="1293" y="729"/>
                      </a:lnTo>
                      <a:lnTo>
                        <a:pt x="1301" y="715"/>
                      </a:lnTo>
                      <a:lnTo>
                        <a:pt x="1320" y="710"/>
                      </a:lnTo>
                      <a:lnTo>
                        <a:pt x="1337" y="700"/>
                      </a:lnTo>
                      <a:lnTo>
                        <a:pt x="1337" y="690"/>
                      </a:lnTo>
                      <a:lnTo>
                        <a:pt x="1347" y="673"/>
                      </a:lnTo>
                      <a:lnTo>
                        <a:pt x="1370" y="664"/>
                      </a:lnTo>
                      <a:lnTo>
                        <a:pt x="1404" y="635"/>
                      </a:lnTo>
                      <a:lnTo>
                        <a:pt x="1424" y="623"/>
                      </a:lnTo>
                      <a:lnTo>
                        <a:pt x="1449" y="587"/>
                      </a:lnTo>
                      <a:lnTo>
                        <a:pt x="1470" y="564"/>
                      </a:lnTo>
                      <a:lnTo>
                        <a:pt x="1504" y="552"/>
                      </a:lnTo>
                      <a:lnTo>
                        <a:pt x="1535" y="520"/>
                      </a:lnTo>
                      <a:lnTo>
                        <a:pt x="1544" y="493"/>
                      </a:lnTo>
                      <a:lnTo>
                        <a:pt x="1548" y="483"/>
                      </a:lnTo>
                      <a:lnTo>
                        <a:pt x="1558" y="477"/>
                      </a:lnTo>
                      <a:lnTo>
                        <a:pt x="1556" y="464"/>
                      </a:lnTo>
                      <a:lnTo>
                        <a:pt x="1541" y="464"/>
                      </a:lnTo>
                      <a:lnTo>
                        <a:pt x="1529" y="453"/>
                      </a:lnTo>
                      <a:lnTo>
                        <a:pt x="1539" y="433"/>
                      </a:lnTo>
                      <a:lnTo>
                        <a:pt x="1548" y="412"/>
                      </a:lnTo>
                      <a:lnTo>
                        <a:pt x="1554" y="403"/>
                      </a:lnTo>
                      <a:lnTo>
                        <a:pt x="1560" y="378"/>
                      </a:lnTo>
                      <a:lnTo>
                        <a:pt x="1537" y="378"/>
                      </a:lnTo>
                      <a:lnTo>
                        <a:pt x="1531" y="385"/>
                      </a:lnTo>
                      <a:lnTo>
                        <a:pt x="1518" y="370"/>
                      </a:lnTo>
                      <a:lnTo>
                        <a:pt x="1498" y="374"/>
                      </a:lnTo>
                      <a:lnTo>
                        <a:pt x="1489" y="380"/>
                      </a:lnTo>
                      <a:lnTo>
                        <a:pt x="1477" y="374"/>
                      </a:lnTo>
                      <a:lnTo>
                        <a:pt x="1477" y="364"/>
                      </a:lnTo>
                      <a:lnTo>
                        <a:pt x="1462" y="364"/>
                      </a:lnTo>
                      <a:lnTo>
                        <a:pt x="1460" y="380"/>
                      </a:lnTo>
                      <a:lnTo>
                        <a:pt x="1479" y="393"/>
                      </a:lnTo>
                      <a:lnTo>
                        <a:pt x="1472" y="405"/>
                      </a:lnTo>
                      <a:lnTo>
                        <a:pt x="1458" y="401"/>
                      </a:lnTo>
                      <a:lnTo>
                        <a:pt x="1447" y="395"/>
                      </a:lnTo>
                      <a:lnTo>
                        <a:pt x="1433" y="401"/>
                      </a:lnTo>
                      <a:lnTo>
                        <a:pt x="1425" y="389"/>
                      </a:lnTo>
                      <a:lnTo>
                        <a:pt x="1395" y="389"/>
                      </a:lnTo>
                      <a:lnTo>
                        <a:pt x="1362" y="412"/>
                      </a:lnTo>
                      <a:lnTo>
                        <a:pt x="1307" y="412"/>
                      </a:lnTo>
                      <a:lnTo>
                        <a:pt x="1303" y="401"/>
                      </a:lnTo>
                      <a:lnTo>
                        <a:pt x="1291" y="403"/>
                      </a:lnTo>
                      <a:lnTo>
                        <a:pt x="1291" y="414"/>
                      </a:lnTo>
                      <a:lnTo>
                        <a:pt x="1264" y="414"/>
                      </a:lnTo>
                      <a:lnTo>
                        <a:pt x="1260" y="422"/>
                      </a:lnTo>
                      <a:lnTo>
                        <a:pt x="1239" y="430"/>
                      </a:lnTo>
                      <a:lnTo>
                        <a:pt x="1228" y="422"/>
                      </a:lnTo>
                      <a:lnTo>
                        <a:pt x="1214" y="422"/>
                      </a:lnTo>
                      <a:lnTo>
                        <a:pt x="1191" y="447"/>
                      </a:lnTo>
                      <a:lnTo>
                        <a:pt x="1191" y="456"/>
                      </a:lnTo>
                      <a:lnTo>
                        <a:pt x="1176" y="470"/>
                      </a:lnTo>
                      <a:lnTo>
                        <a:pt x="1182" y="445"/>
                      </a:lnTo>
                      <a:lnTo>
                        <a:pt x="1195" y="430"/>
                      </a:lnTo>
                      <a:lnTo>
                        <a:pt x="1191" y="420"/>
                      </a:lnTo>
                      <a:lnTo>
                        <a:pt x="1174" y="407"/>
                      </a:lnTo>
                      <a:lnTo>
                        <a:pt x="1149" y="405"/>
                      </a:lnTo>
                      <a:lnTo>
                        <a:pt x="1143" y="430"/>
                      </a:lnTo>
                      <a:lnTo>
                        <a:pt x="1134" y="430"/>
                      </a:lnTo>
                      <a:lnTo>
                        <a:pt x="1128" y="447"/>
                      </a:lnTo>
                      <a:lnTo>
                        <a:pt x="1120" y="449"/>
                      </a:lnTo>
                      <a:lnTo>
                        <a:pt x="1115" y="460"/>
                      </a:lnTo>
                      <a:lnTo>
                        <a:pt x="1103" y="468"/>
                      </a:lnTo>
                      <a:lnTo>
                        <a:pt x="1113" y="443"/>
                      </a:lnTo>
                      <a:lnTo>
                        <a:pt x="1134" y="424"/>
                      </a:lnTo>
                      <a:lnTo>
                        <a:pt x="1128" y="414"/>
                      </a:lnTo>
                      <a:lnTo>
                        <a:pt x="1111" y="405"/>
                      </a:lnTo>
                      <a:lnTo>
                        <a:pt x="1105" y="387"/>
                      </a:lnTo>
                      <a:lnTo>
                        <a:pt x="1097" y="393"/>
                      </a:lnTo>
                      <a:lnTo>
                        <a:pt x="1101" y="403"/>
                      </a:lnTo>
                      <a:lnTo>
                        <a:pt x="1095" y="403"/>
                      </a:lnTo>
                      <a:lnTo>
                        <a:pt x="1097" y="418"/>
                      </a:lnTo>
                      <a:lnTo>
                        <a:pt x="1090" y="431"/>
                      </a:lnTo>
                      <a:lnTo>
                        <a:pt x="1092" y="418"/>
                      </a:lnTo>
                      <a:lnTo>
                        <a:pt x="1092" y="407"/>
                      </a:lnTo>
                      <a:lnTo>
                        <a:pt x="1088" y="389"/>
                      </a:lnTo>
                      <a:lnTo>
                        <a:pt x="1076" y="383"/>
                      </a:lnTo>
                      <a:lnTo>
                        <a:pt x="1061" y="378"/>
                      </a:lnTo>
                      <a:lnTo>
                        <a:pt x="1057" y="380"/>
                      </a:lnTo>
                      <a:lnTo>
                        <a:pt x="1053" y="385"/>
                      </a:lnTo>
                      <a:lnTo>
                        <a:pt x="1051" y="380"/>
                      </a:lnTo>
                      <a:lnTo>
                        <a:pt x="1044" y="376"/>
                      </a:lnTo>
                      <a:lnTo>
                        <a:pt x="1038" y="399"/>
                      </a:lnTo>
                      <a:lnTo>
                        <a:pt x="1026" y="418"/>
                      </a:lnTo>
                      <a:lnTo>
                        <a:pt x="1013" y="418"/>
                      </a:lnTo>
                      <a:lnTo>
                        <a:pt x="1007" y="431"/>
                      </a:lnTo>
                      <a:lnTo>
                        <a:pt x="1009" y="445"/>
                      </a:lnTo>
                      <a:lnTo>
                        <a:pt x="1021" y="458"/>
                      </a:lnTo>
                      <a:lnTo>
                        <a:pt x="1034" y="462"/>
                      </a:lnTo>
                      <a:lnTo>
                        <a:pt x="1040" y="472"/>
                      </a:lnTo>
                      <a:lnTo>
                        <a:pt x="1021" y="464"/>
                      </a:lnTo>
                      <a:lnTo>
                        <a:pt x="1007" y="474"/>
                      </a:lnTo>
                      <a:lnTo>
                        <a:pt x="1013" y="481"/>
                      </a:lnTo>
                      <a:lnTo>
                        <a:pt x="1022" y="481"/>
                      </a:lnTo>
                      <a:lnTo>
                        <a:pt x="1022" y="497"/>
                      </a:lnTo>
                      <a:lnTo>
                        <a:pt x="1003" y="481"/>
                      </a:lnTo>
                      <a:lnTo>
                        <a:pt x="996" y="493"/>
                      </a:lnTo>
                      <a:lnTo>
                        <a:pt x="996" y="501"/>
                      </a:lnTo>
                      <a:lnTo>
                        <a:pt x="988" y="512"/>
                      </a:lnTo>
                      <a:lnTo>
                        <a:pt x="992" y="524"/>
                      </a:lnTo>
                      <a:lnTo>
                        <a:pt x="999" y="525"/>
                      </a:lnTo>
                      <a:lnTo>
                        <a:pt x="998" y="539"/>
                      </a:lnTo>
                      <a:lnTo>
                        <a:pt x="1005" y="552"/>
                      </a:lnTo>
                      <a:lnTo>
                        <a:pt x="1019" y="558"/>
                      </a:lnTo>
                      <a:lnTo>
                        <a:pt x="1046" y="560"/>
                      </a:lnTo>
                      <a:lnTo>
                        <a:pt x="1053" y="566"/>
                      </a:lnTo>
                      <a:lnTo>
                        <a:pt x="1038" y="566"/>
                      </a:lnTo>
                      <a:lnTo>
                        <a:pt x="1051" y="577"/>
                      </a:lnTo>
                      <a:lnTo>
                        <a:pt x="1036" y="572"/>
                      </a:lnTo>
                      <a:lnTo>
                        <a:pt x="1030" y="564"/>
                      </a:lnTo>
                      <a:lnTo>
                        <a:pt x="1015" y="566"/>
                      </a:lnTo>
                      <a:lnTo>
                        <a:pt x="1005" y="556"/>
                      </a:lnTo>
                      <a:lnTo>
                        <a:pt x="990" y="564"/>
                      </a:lnTo>
                      <a:lnTo>
                        <a:pt x="971" y="560"/>
                      </a:lnTo>
                      <a:lnTo>
                        <a:pt x="961" y="566"/>
                      </a:lnTo>
                      <a:lnTo>
                        <a:pt x="957" y="570"/>
                      </a:lnTo>
                      <a:lnTo>
                        <a:pt x="950" y="568"/>
                      </a:lnTo>
                      <a:lnTo>
                        <a:pt x="936" y="552"/>
                      </a:lnTo>
                      <a:lnTo>
                        <a:pt x="927" y="568"/>
                      </a:lnTo>
                      <a:lnTo>
                        <a:pt x="936" y="573"/>
                      </a:lnTo>
                      <a:lnTo>
                        <a:pt x="942" y="593"/>
                      </a:lnTo>
                      <a:lnTo>
                        <a:pt x="955" y="606"/>
                      </a:lnTo>
                      <a:lnTo>
                        <a:pt x="953" y="610"/>
                      </a:lnTo>
                      <a:lnTo>
                        <a:pt x="965" y="612"/>
                      </a:lnTo>
                      <a:lnTo>
                        <a:pt x="955" y="619"/>
                      </a:lnTo>
                      <a:lnTo>
                        <a:pt x="955" y="643"/>
                      </a:lnTo>
                      <a:lnTo>
                        <a:pt x="951" y="652"/>
                      </a:lnTo>
                      <a:lnTo>
                        <a:pt x="942" y="654"/>
                      </a:lnTo>
                      <a:lnTo>
                        <a:pt x="938" y="650"/>
                      </a:lnTo>
                      <a:lnTo>
                        <a:pt x="932" y="652"/>
                      </a:lnTo>
                      <a:lnTo>
                        <a:pt x="919" y="633"/>
                      </a:lnTo>
                      <a:lnTo>
                        <a:pt x="907" y="646"/>
                      </a:lnTo>
                      <a:lnTo>
                        <a:pt x="915" y="658"/>
                      </a:lnTo>
                      <a:lnTo>
                        <a:pt x="911" y="666"/>
                      </a:lnTo>
                      <a:lnTo>
                        <a:pt x="930" y="671"/>
                      </a:lnTo>
                      <a:lnTo>
                        <a:pt x="942" y="685"/>
                      </a:lnTo>
                      <a:lnTo>
                        <a:pt x="944" y="696"/>
                      </a:lnTo>
                      <a:lnTo>
                        <a:pt x="953" y="702"/>
                      </a:lnTo>
                      <a:lnTo>
                        <a:pt x="965" y="704"/>
                      </a:lnTo>
                      <a:lnTo>
                        <a:pt x="976" y="710"/>
                      </a:lnTo>
                      <a:lnTo>
                        <a:pt x="975" y="727"/>
                      </a:lnTo>
                      <a:lnTo>
                        <a:pt x="992" y="748"/>
                      </a:lnTo>
                      <a:lnTo>
                        <a:pt x="990" y="754"/>
                      </a:lnTo>
                      <a:lnTo>
                        <a:pt x="982" y="756"/>
                      </a:lnTo>
                      <a:lnTo>
                        <a:pt x="965" y="731"/>
                      </a:lnTo>
                      <a:lnTo>
                        <a:pt x="950" y="731"/>
                      </a:lnTo>
                      <a:lnTo>
                        <a:pt x="942" y="735"/>
                      </a:lnTo>
                      <a:lnTo>
                        <a:pt x="936" y="725"/>
                      </a:lnTo>
                      <a:lnTo>
                        <a:pt x="930" y="717"/>
                      </a:lnTo>
                      <a:lnTo>
                        <a:pt x="917" y="721"/>
                      </a:lnTo>
                      <a:lnTo>
                        <a:pt x="925" y="733"/>
                      </a:lnTo>
                      <a:lnTo>
                        <a:pt x="932" y="733"/>
                      </a:lnTo>
                      <a:lnTo>
                        <a:pt x="940" y="744"/>
                      </a:lnTo>
                      <a:lnTo>
                        <a:pt x="950" y="754"/>
                      </a:lnTo>
                      <a:lnTo>
                        <a:pt x="957" y="754"/>
                      </a:lnTo>
                      <a:lnTo>
                        <a:pt x="965" y="767"/>
                      </a:lnTo>
                      <a:lnTo>
                        <a:pt x="948" y="761"/>
                      </a:lnTo>
                      <a:lnTo>
                        <a:pt x="927" y="740"/>
                      </a:lnTo>
                      <a:lnTo>
                        <a:pt x="919" y="735"/>
                      </a:lnTo>
                      <a:lnTo>
                        <a:pt x="911" y="737"/>
                      </a:lnTo>
                      <a:lnTo>
                        <a:pt x="905" y="756"/>
                      </a:lnTo>
                      <a:lnTo>
                        <a:pt x="890" y="756"/>
                      </a:lnTo>
                      <a:lnTo>
                        <a:pt x="880" y="746"/>
                      </a:lnTo>
                      <a:lnTo>
                        <a:pt x="880" y="733"/>
                      </a:lnTo>
                      <a:lnTo>
                        <a:pt x="867" y="723"/>
                      </a:lnTo>
                      <a:lnTo>
                        <a:pt x="859" y="723"/>
                      </a:lnTo>
                      <a:lnTo>
                        <a:pt x="852" y="733"/>
                      </a:lnTo>
                      <a:lnTo>
                        <a:pt x="850" y="750"/>
                      </a:lnTo>
                      <a:lnTo>
                        <a:pt x="861" y="761"/>
                      </a:lnTo>
                      <a:lnTo>
                        <a:pt x="869" y="769"/>
                      </a:lnTo>
                      <a:lnTo>
                        <a:pt x="867" y="790"/>
                      </a:lnTo>
                      <a:lnTo>
                        <a:pt x="859" y="788"/>
                      </a:lnTo>
                      <a:lnTo>
                        <a:pt x="856" y="798"/>
                      </a:lnTo>
                      <a:lnTo>
                        <a:pt x="842" y="788"/>
                      </a:lnTo>
                      <a:lnTo>
                        <a:pt x="848" y="773"/>
                      </a:lnTo>
                      <a:lnTo>
                        <a:pt x="838" y="750"/>
                      </a:lnTo>
                      <a:lnTo>
                        <a:pt x="817" y="752"/>
                      </a:lnTo>
                      <a:lnTo>
                        <a:pt x="806" y="754"/>
                      </a:lnTo>
                      <a:lnTo>
                        <a:pt x="806" y="792"/>
                      </a:lnTo>
                      <a:lnTo>
                        <a:pt x="804" y="796"/>
                      </a:lnTo>
                      <a:lnTo>
                        <a:pt x="804" y="809"/>
                      </a:lnTo>
                      <a:lnTo>
                        <a:pt x="815" y="815"/>
                      </a:lnTo>
                      <a:lnTo>
                        <a:pt x="827" y="819"/>
                      </a:lnTo>
                      <a:lnTo>
                        <a:pt x="842" y="832"/>
                      </a:lnTo>
                      <a:lnTo>
                        <a:pt x="838" y="840"/>
                      </a:lnTo>
                      <a:lnTo>
                        <a:pt x="827" y="832"/>
                      </a:lnTo>
                      <a:lnTo>
                        <a:pt x="815" y="831"/>
                      </a:lnTo>
                      <a:lnTo>
                        <a:pt x="802" y="848"/>
                      </a:lnTo>
                      <a:lnTo>
                        <a:pt x="802" y="861"/>
                      </a:lnTo>
                      <a:lnTo>
                        <a:pt x="817" y="873"/>
                      </a:lnTo>
                      <a:lnTo>
                        <a:pt x="823" y="890"/>
                      </a:lnTo>
                      <a:lnTo>
                        <a:pt x="832" y="896"/>
                      </a:lnTo>
                      <a:lnTo>
                        <a:pt x="832" y="905"/>
                      </a:lnTo>
                      <a:lnTo>
                        <a:pt x="840" y="911"/>
                      </a:lnTo>
                      <a:lnTo>
                        <a:pt x="857" y="905"/>
                      </a:lnTo>
                      <a:lnTo>
                        <a:pt x="879" y="913"/>
                      </a:lnTo>
                      <a:lnTo>
                        <a:pt x="879" y="921"/>
                      </a:lnTo>
                      <a:lnTo>
                        <a:pt x="856" y="921"/>
                      </a:lnTo>
                      <a:lnTo>
                        <a:pt x="848" y="921"/>
                      </a:lnTo>
                      <a:lnTo>
                        <a:pt x="838" y="915"/>
                      </a:lnTo>
                      <a:lnTo>
                        <a:pt x="842" y="928"/>
                      </a:lnTo>
                      <a:lnTo>
                        <a:pt x="827" y="919"/>
                      </a:lnTo>
                      <a:lnTo>
                        <a:pt x="829" y="909"/>
                      </a:lnTo>
                      <a:lnTo>
                        <a:pt x="817" y="909"/>
                      </a:lnTo>
                      <a:lnTo>
                        <a:pt x="802" y="892"/>
                      </a:lnTo>
                      <a:lnTo>
                        <a:pt x="794" y="892"/>
                      </a:lnTo>
                      <a:lnTo>
                        <a:pt x="794" y="900"/>
                      </a:lnTo>
                      <a:lnTo>
                        <a:pt x="786" y="905"/>
                      </a:lnTo>
                      <a:lnTo>
                        <a:pt x="785" y="921"/>
                      </a:lnTo>
                      <a:lnTo>
                        <a:pt x="781" y="957"/>
                      </a:lnTo>
                      <a:lnTo>
                        <a:pt x="786" y="965"/>
                      </a:lnTo>
                      <a:lnTo>
                        <a:pt x="798" y="967"/>
                      </a:lnTo>
                      <a:lnTo>
                        <a:pt x="794" y="969"/>
                      </a:lnTo>
                      <a:lnTo>
                        <a:pt x="794" y="984"/>
                      </a:lnTo>
                      <a:lnTo>
                        <a:pt x="788" y="986"/>
                      </a:lnTo>
                      <a:lnTo>
                        <a:pt x="792" y="1001"/>
                      </a:lnTo>
                      <a:lnTo>
                        <a:pt x="798" y="1001"/>
                      </a:lnTo>
                      <a:lnTo>
                        <a:pt x="802" y="1011"/>
                      </a:lnTo>
                      <a:lnTo>
                        <a:pt x="836" y="992"/>
                      </a:lnTo>
                      <a:lnTo>
                        <a:pt x="854" y="992"/>
                      </a:lnTo>
                      <a:lnTo>
                        <a:pt x="842" y="997"/>
                      </a:lnTo>
                      <a:lnTo>
                        <a:pt x="856" y="1009"/>
                      </a:lnTo>
                      <a:lnTo>
                        <a:pt x="846" y="1020"/>
                      </a:lnTo>
                      <a:lnTo>
                        <a:pt x="838" y="1015"/>
                      </a:lnTo>
                      <a:lnTo>
                        <a:pt x="815" y="1034"/>
                      </a:lnTo>
                      <a:lnTo>
                        <a:pt x="815" y="1043"/>
                      </a:lnTo>
                      <a:lnTo>
                        <a:pt x="838" y="1045"/>
                      </a:lnTo>
                      <a:lnTo>
                        <a:pt x="844" y="1049"/>
                      </a:lnTo>
                      <a:lnTo>
                        <a:pt x="867" y="1051"/>
                      </a:lnTo>
                      <a:lnTo>
                        <a:pt x="892" y="1072"/>
                      </a:lnTo>
                      <a:lnTo>
                        <a:pt x="900" y="1072"/>
                      </a:lnTo>
                      <a:lnTo>
                        <a:pt x="902" y="1078"/>
                      </a:lnTo>
                      <a:lnTo>
                        <a:pt x="894" y="1080"/>
                      </a:lnTo>
                      <a:lnTo>
                        <a:pt x="888" y="1080"/>
                      </a:lnTo>
                      <a:lnTo>
                        <a:pt x="871" y="1055"/>
                      </a:lnTo>
                      <a:lnTo>
                        <a:pt x="857" y="1055"/>
                      </a:lnTo>
                      <a:lnTo>
                        <a:pt x="854" y="1061"/>
                      </a:lnTo>
                      <a:lnTo>
                        <a:pt x="842" y="1059"/>
                      </a:lnTo>
                      <a:lnTo>
                        <a:pt x="834" y="1074"/>
                      </a:lnTo>
                      <a:lnTo>
                        <a:pt x="842" y="1080"/>
                      </a:lnTo>
                      <a:lnTo>
                        <a:pt x="821" y="1099"/>
                      </a:lnTo>
                      <a:lnTo>
                        <a:pt x="823" y="1109"/>
                      </a:lnTo>
                      <a:lnTo>
                        <a:pt x="829" y="1114"/>
                      </a:lnTo>
                      <a:lnTo>
                        <a:pt x="844" y="1116"/>
                      </a:lnTo>
                      <a:lnTo>
                        <a:pt x="857" y="1126"/>
                      </a:lnTo>
                      <a:lnTo>
                        <a:pt x="867" y="1143"/>
                      </a:lnTo>
                      <a:lnTo>
                        <a:pt x="861" y="1149"/>
                      </a:lnTo>
                      <a:lnTo>
                        <a:pt x="846" y="1130"/>
                      </a:lnTo>
                      <a:lnTo>
                        <a:pt x="832" y="1122"/>
                      </a:lnTo>
                      <a:lnTo>
                        <a:pt x="827" y="1128"/>
                      </a:lnTo>
                      <a:lnTo>
                        <a:pt x="811" y="1126"/>
                      </a:lnTo>
                      <a:lnTo>
                        <a:pt x="790" y="1155"/>
                      </a:lnTo>
                      <a:lnTo>
                        <a:pt x="796" y="1168"/>
                      </a:lnTo>
                      <a:lnTo>
                        <a:pt x="819" y="1174"/>
                      </a:lnTo>
                      <a:lnTo>
                        <a:pt x="823" y="1191"/>
                      </a:lnTo>
                      <a:lnTo>
                        <a:pt x="832" y="1195"/>
                      </a:lnTo>
                      <a:lnTo>
                        <a:pt x="838" y="1201"/>
                      </a:lnTo>
                      <a:lnTo>
                        <a:pt x="829" y="1207"/>
                      </a:lnTo>
                      <a:lnTo>
                        <a:pt x="819" y="1199"/>
                      </a:lnTo>
                      <a:lnTo>
                        <a:pt x="804" y="1178"/>
                      </a:lnTo>
                      <a:lnTo>
                        <a:pt x="786" y="1180"/>
                      </a:lnTo>
                      <a:lnTo>
                        <a:pt x="779" y="1187"/>
                      </a:lnTo>
                      <a:lnTo>
                        <a:pt x="779" y="1203"/>
                      </a:lnTo>
                      <a:lnTo>
                        <a:pt x="765" y="1224"/>
                      </a:lnTo>
                      <a:lnTo>
                        <a:pt x="756" y="1235"/>
                      </a:lnTo>
                      <a:lnTo>
                        <a:pt x="752" y="1245"/>
                      </a:lnTo>
                      <a:lnTo>
                        <a:pt x="763" y="1251"/>
                      </a:lnTo>
                      <a:lnTo>
                        <a:pt x="779" y="1247"/>
                      </a:lnTo>
                      <a:lnTo>
                        <a:pt x="798" y="1241"/>
                      </a:lnTo>
                      <a:lnTo>
                        <a:pt x="802" y="1247"/>
                      </a:lnTo>
                      <a:lnTo>
                        <a:pt x="786" y="1256"/>
                      </a:lnTo>
                      <a:lnTo>
                        <a:pt x="796" y="1262"/>
                      </a:lnTo>
                      <a:lnTo>
                        <a:pt x="804" y="1262"/>
                      </a:lnTo>
                      <a:lnTo>
                        <a:pt x="813" y="1251"/>
                      </a:lnTo>
                      <a:lnTo>
                        <a:pt x="819" y="1256"/>
                      </a:lnTo>
                      <a:lnTo>
                        <a:pt x="802" y="1270"/>
                      </a:lnTo>
                      <a:lnTo>
                        <a:pt x="775" y="1268"/>
                      </a:lnTo>
                      <a:lnTo>
                        <a:pt x="767" y="1276"/>
                      </a:lnTo>
                      <a:lnTo>
                        <a:pt x="765" y="1285"/>
                      </a:lnTo>
                      <a:lnTo>
                        <a:pt x="779" y="1291"/>
                      </a:lnTo>
                      <a:lnTo>
                        <a:pt x="794" y="1297"/>
                      </a:lnTo>
                      <a:lnTo>
                        <a:pt x="773" y="1295"/>
                      </a:lnTo>
                      <a:lnTo>
                        <a:pt x="767" y="1299"/>
                      </a:lnTo>
                      <a:lnTo>
                        <a:pt x="754" y="1295"/>
                      </a:lnTo>
                      <a:lnTo>
                        <a:pt x="767" y="1314"/>
                      </a:lnTo>
                      <a:lnTo>
                        <a:pt x="761" y="1318"/>
                      </a:lnTo>
                      <a:lnTo>
                        <a:pt x="754" y="1308"/>
                      </a:lnTo>
                      <a:lnTo>
                        <a:pt x="748" y="1312"/>
                      </a:lnTo>
                      <a:lnTo>
                        <a:pt x="742" y="1297"/>
                      </a:lnTo>
                      <a:lnTo>
                        <a:pt x="733" y="1297"/>
                      </a:lnTo>
                      <a:lnTo>
                        <a:pt x="712" y="1304"/>
                      </a:lnTo>
                      <a:lnTo>
                        <a:pt x="696" y="1299"/>
                      </a:lnTo>
                      <a:lnTo>
                        <a:pt x="679" y="1304"/>
                      </a:lnTo>
                      <a:lnTo>
                        <a:pt x="677" y="1314"/>
                      </a:lnTo>
                      <a:lnTo>
                        <a:pt x="664" y="1316"/>
                      </a:lnTo>
                      <a:lnTo>
                        <a:pt x="662" y="1331"/>
                      </a:lnTo>
                      <a:lnTo>
                        <a:pt x="675" y="1345"/>
                      </a:lnTo>
                      <a:lnTo>
                        <a:pt x="689" y="1343"/>
                      </a:lnTo>
                      <a:lnTo>
                        <a:pt x="696" y="1341"/>
                      </a:lnTo>
                      <a:lnTo>
                        <a:pt x="712" y="1341"/>
                      </a:lnTo>
                      <a:lnTo>
                        <a:pt x="723" y="1347"/>
                      </a:lnTo>
                      <a:lnTo>
                        <a:pt x="733" y="1350"/>
                      </a:lnTo>
                      <a:lnTo>
                        <a:pt x="738" y="1347"/>
                      </a:lnTo>
                      <a:lnTo>
                        <a:pt x="744" y="1350"/>
                      </a:lnTo>
                      <a:lnTo>
                        <a:pt x="761" y="1352"/>
                      </a:lnTo>
                      <a:lnTo>
                        <a:pt x="781" y="1337"/>
                      </a:lnTo>
                      <a:lnTo>
                        <a:pt x="800" y="1337"/>
                      </a:lnTo>
                      <a:lnTo>
                        <a:pt x="813" y="1349"/>
                      </a:lnTo>
                      <a:lnTo>
                        <a:pt x="836" y="1347"/>
                      </a:lnTo>
                      <a:lnTo>
                        <a:pt x="844" y="1349"/>
                      </a:lnTo>
                      <a:lnTo>
                        <a:pt x="831" y="1352"/>
                      </a:lnTo>
                      <a:lnTo>
                        <a:pt x="815" y="1356"/>
                      </a:lnTo>
                      <a:lnTo>
                        <a:pt x="800" y="1345"/>
                      </a:lnTo>
                      <a:lnTo>
                        <a:pt x="788" y="1347"/>
                      </a:lnTo>
                      <a:lnTo>
                        <a:pt x="758" y="1362"/>
                      </a:lnTo>
                      <a:lnTo>
                        <a:pt x="769" y="1374"/>
                      </a:lnTo>
                      <a:lnTo>
                        <a:pt x="761" y="1375"/>
                      </a:lnTo>
                      <a:lnTo>
                        <a:pt x="752" y="1370"/>
                      </a:lnTo>
                      <a:lnTo>
                        <a:pt x="750" y="1360"/>
                      </a:lnTo>
                      <a:lnTo>
                        <a:pt x="737" y="1360"/>
                      </a:lnTo>
                      <a:lnTo>
                        <a:pt x="723" y="1364"/>
                      </a:lnTo>
                      <a:lnTo>
                        <a:pt x="723" y="1375"/>
                      </a:lnTo>
                      <a:lnTo>
                        <a:pt x="740" y="1410"/>
                      </a:lnTo>
                      <a:lnTo>
                        <a:pt x="754" y="1416"/>
                      </a:lnTo>
                      <a:lnTo>
                        <a:pt x="775" y="1423"/>
                      </a:lnTo>
                      <a:lnTo>
                        <a:pt x="783" y="1421"/>
                      </a:lnTo>
                      <a:lnTo>
                        <a:pt x="785" y="1431"/>
                      </a:lnTo>
                      <a:lnTo>
                        <a:pt x="804" y="1441"/>
                      </a:lnTo>
                      <a:lnTo>
                        <a:pt x="823" y="1435"/>
                      </a:lnTo>
                      <a:lnTo>
                        <a:pt x="856" y="1406"/>
                      </a:lnTo>
                      <a:lnTo>
                        <a:pt x="857" y="1395"/>
                      </a:lnTo>
                      <a:lnTo>
                        <a:pt x="846" y="1387"/>
                      </a:lnTo>
                      <a:lnTo>
                        <a:pt x="861" y="1389"/>
                      </a:lnTo>
                      <a:lnTo>
                        <a:pt x="880" y="1374"/>
                      </a:lnTo>
                      <a:lnTo>
                        <a:pt x="905" y="1354"/>
                      </a:lnTo>
                      <a:lnTo>
                        <a:pt x="923" y="1341"/>
                      </a:lnTo>
                      <a:lnTo>
                        <a:pt x="927" y="1341"/>
                      </a:lnTo>
                      <a:lnTo>
                        <a:pt x="932" y="1326"/>
                      </a:lnTo>
                      <a:lnTo>
                        <a:pt x="940" y="1320"/>
                      </a:lnTo>
                      <a:lnTo>
                        <a:pt x="934" y="1316"/>
                      </a:lnTo>
                      <a:lnTo>
                        <a:pt x="946" y="1312"/>
                      </a:lnTo>
                      <a:lnTo>
                        <a:pt x="967" y="1291"/>
                      </a:lnTo>
                      <a:lnTo>
                        <a:pt x="965" y="1281"/>
                      </a:lnTo>
                      <a:lnTo>
                        <a:pt x="950" y="1274"/>
                      </a:lnTo>
                      <a:lnTo>
                        <a:pt x="917" y="1276"/>
                      </a:lnTo>
                      <a:lnTo>
                        <a:pt x="907" y="1266"/>
                      </a:lnTo>
                      <a:lnTo>
                        <a:pt x="951" y="1266"/>
                      </a:lnTo>
                      <a:lnTo>
                        <a:pt x="975" y="1279"/>
                      </a:lnTo>
                      <a:lnTo>
                        <a:pt x="976" y="1289"/>
                      </a:lnTo>
                      <a:lnTo>
                        <a:pt x="973" y="1291"/>
                      </a:lnTo>
                      <a:lnTo>
                        <a:pt x="957" y="1308"/>
                      </a:lnTo>
                      <a:lnTo>
                        <a:pt x="955" y="1314"/>
                      </a:lnTo>
                      <a:lnTo>
                        <a:pt x="938" y="1335"/>
                      </a:lnTo>
                      <a:lnTo>
                        <a:pt x="934" y="1347"/>
                      </a:lnTo>
                      <a:lnTo>
                        <a:pt x="938" y="1349"/>
                      </a:lnTo>
                      <a:lnTo>
                        <a:pt x="936" y="1356"/>
                      </a:lnTo>
                      <a:lnTo>
                        <a:pt x="925" y="1360"/>
                      </a:lnTo>
                      <a:lnTo>
                        <a:pt x="911" y="1370"/>
                      </a:lnTo>
                      <a:lnTo>
                        <a:pt x="911" y="1381"/>
                      </a:lnTo>
                      <a:lnTo>
                        <a:pt x="905" y="1389"/>
                      </a:lnTo>
                      <a:lnTo>
                        <a:pt x="892" y="1402"/>
                      </a:lnTo>
                      <a:lnTo>
                        <a:pt x="890" y="1414"/>
                      </a:lnTo>
                      <a:lnTo>
                        <a:pt x="882" y="1420"/>
                      </a:lnTo>
                      <a:lnTo>
                        <a:pt x="886" y="1431"/>
                      </a:lnTo>
                      <a:lnTo>
                        <a:pt x="898" y="1433"/>
                      </a:lnTo>
                      <a:lnTo>
                        <a:pt x="907" y="1423"/>
                      </a:lnTo>
                      <a:lnTo>
                        <a:pt x="923" y="1421"/>
                      </a:lnTo>
                      <a:lnTo>
                        <a:pt x="907" y="1431"/>
                      </a:lnTo>
                      <a:lnTo>
                        <a:pt x="900" y="1439"/>
                      </a:lnTo>
                      <a:lnTo>
                        <a:pt x="888" y="1443"/>
                      </a:lnTo>
                      <a:lnTo>
                        <a:pt x="880" y="1435"/>
                      </a:lnTo>
                      <a:lnTo>
                        <a:pt x="873" y="1439"/>
                      </a:lnTo>
                      <a:lnTo>
                        <a:pt x="863" y="1454"/>
                      </a:lnTo>
                      <a:lnTo>
                        <a:pt x="867" y="1456"/>
                      </a:lnTo>
                      <a:lnTo>
                        <a:pt x="877" y="1450"/>
                      </a:lnTo>
                      <a:lnTo>
                        <a:pt x="880" y="1454"/>
                      </a:lnTo>
                      <a:lnTo>
                        <a:pt x="882" y="1462"/>
                      </a:lnTo>
                      <a:lnTo>
                        <a:pt x="896" y="1466"/>
                      </a:lnTo>
                      <a:lnTo>
                        <a:pt x="900" y="1460"/>
                      </a:lnTo>
                      <a:lnTo>
                        <a:pt x="913" y="1469"/>
                      </a:lnTo>
                      <a:lnTo>
                        <a:pt x="925" y="1469"/>
                      </a:lnTo>
                      <a:lnTo>
                        <a:pt x="940" y="1471"/>
                      </a:lnTo>
                      <a:lnTo>
                        <a:pt x="948" y="1462"/>
                      </a:lnTo>
                      <a:lnTo>
                        <a:pt x="951" y="1450"/>
                      </a:lnTo>
                      <a:lnTo>
                        <a:pt x="961" y="1441"/>
                      </a:lnTo>
                      <a:lnTo>
                        <a:pt x="973" y="1423"/>
                      </a:lnTo>
                      <a:lnTo>
                        <a:pt x="982" y="1420"/>
                      </a:lnTo>
                      <a:lnTo>
                        <a:pt x="978" y="1427"/>
                      </a:lnTo>
                      <a:lnTo>
                        <a:pt x="975" y="1439"/>
                      </a:lnTo>
                      <a:lnTo>
                        <a:pt x="967" y="1443"/>
                      </a:lnTo>
                      <a:lnTo>
                        <a:pt x="953" y="1468"/>
                      </a:lnTo>
                      <a:lnTo>
                        <a:pt x="936" y="1479"/>
                      </a:lnTo>
                      <a:lnTo>
                        <a:pt x="913" y="1473"/>
                      </a:lnTo>
                      <a:lnTo>
                        <a:pt x="896" y="1471"/>
                      </a:lnTo>
                      <a:lnTo>
                        <a:pt x="867" y="1469"/>
                      </a:lnTo>
                      <a:lnTo>
                        <a:pt x="861" y="1477"/>
                      </a:lnTo>
                      <a:lnTo>
                        <a:pt x="859" y="1487"/>
                      </a:lnTo>
                      <a:lnTo>
                        <a:pt x="844" y="1508"/>
                      </a:lnTo>
                      <a:lnTo>
                        <a:pt x="844" y="1517"/>
                      </a:lnTo>
                      <a:lnTo>
                        <a:pt x="865" y="1514"/>
                      </a:lnTo>
                      <a:lnTo>
                        <a:pt x="857" y="1517"/>
                      </a:lnTo>
                      <a:lnTo>
                        <a:pt x="838" y="1523"/>
                      </a:lnTo>
                      <a:lnTo>
                        <a:pt x="831" y="1531"/>
                      </a:lnTo>
                      <a:lnTo>
                        <a:pt x="821" y="1565"/>
                      </a:lnTo>
                      <a:lnTo>
                        <a:pt x="834" y="1565"/>
                      </a:lnTo>
                      <a:lnTo>
                        <a:pt x="846" y="1562"/>
                      </a:lnTo>
                      <a:lnTo>
                        <a:pt x="852" y="1567"/>
                      </a:lnTo>
                      <a:lnTo>
                        <a:pt x="832" y="1579"/>
                      </a:lnTo>
                      <a:lnTo>
                        <a:pt x="834" y="1588"/>
                      </a:lnTo>
                      <a:lnTo>
                        <a:pt x="821" y="1608"/>
                      </a:lnTo>
                      <a:lnTo>
                        <a:pt x="813" y="1625"/>
                      </a:lnTo>
                      <a:lnTo>
                        <a:pt x="819" y="1629"/>
                      </a:lnTo>
                      <a:lnTo>
                        <a:pt x="831" y="1613"/>
                      </a:lnTo>
                      <a:lnTo>
                        <a:pt x="846" y="1604"/>
                      </a:lnTo>
                      <a:lnTo>
                        <a:pt x="832" y="1627"/>
                      </a:lnTo>
                      <a:lnTo>
                        <a:pt x="825" y="1638"/>
                      </a:lnTo>
                      <a:lnTo>
                        <a:pt x="836" y="1646"/>
                      </a:lnTo>
                      <a:lnTo>
                        <a:pt x="832" y="1656"/>
                      </a:lnTo>
                      <a:lnTo>
                        <a:pt x="827" y="1650"/>
                      </a:lnTo>
                      <a:lnTo>
                        <a:pt x="817" y="1652"/>
                      </a:lnTo>
                      <a:lnTo>
                        <a:pt x="802" y="1675"/>
                      </a:lnTo>
                      <a:lnTo>
                        <a:pt x="781" y="1713"/>
                      </a:lnTo>
                      <a:lnTo>
                        <a:pt x="786" y="1723"/>
                      </a:lnTo>
                      <a:lnTo>
                        <a:pt x="796" y="1713"/>
                      </a:lnTo>
                      <a:lnTo>
                        <a:pt x="802" y="1700"/>
                      </a:lnTo>
                      <a:lnTo>
                        <a:pt x="815" y="1679"/>
                      </a:lnTo>
                      <a:lnTo>
                        <a:pt x="821" y="1677"/>
                      </a:lnTo>
                      <a:lnTo>
                        <a:pt x="813" y="1688"/>
                      </a:lnTo>
                      <a:lnTo>
                        <a:pt x="813" y="1694"/>
                      </a:lnTo>
                      <a:lnTo>
                        <a:pt x="798" y="1715"/>
                      </a:lnTo>
                      <a:lnTo>
                        <a:pt x="798" y="1725"/>
                      </a:lnTo>
                      <a:lnTo>
                        <a:pt x="788" y="1730"/>
                      </a:lnTo>
                      <a:lnTo>
                        <a:pt x="788" y="1746"/>
                      </a:lnTo>
                      <a:lnTo>
                        <a:pt x="798" y="1746"/>
                      </a:lnTo>
                      <a:lnTo>
                        <a:pt x="806" y="1728"/>
                      </a:lnTo>
                      <a:lnTo>
                        <a:pt x="817" y="1728"/>
                      </a:lnTo>
                      <a:lnTo>
                        <a:pt x="800" y="1750"/>
                      </a:lnTo>
                      <a:lnTo>
                        <a:pt x="790" y="1776"/>
                      </a:lnTo>
                      <a:lnTo>
                        <a:pt x="790" y="1798"/>
                      </a:lnTo>
                      <a:lnTo>
                        <a:pt x="802" y="1801"/>
                      </a:lnTo>
                      <a:lnTo>
                        <a:pt x="802" y="1815"/>
                      </a:lnTo>
                      <a:lnTo>
                        <a:pt x="809" y="1811"/>
                      </a:lnTo>
                      <a:lnTo>
                        <a:pt x="827" y="1799"/>
                      </a:lnTo>
                      <a:lnTo>
                        <a:pt x="838" y="1788"/>
                      </a:lnTo>
                      <a:lnTo>
                        <a:pt x="850" y="1769"/>
                      </a:lnTo>
                      <a:lnTo>
                        <a:pt x="854" y="1774"/>
                      </a:lnTo>
                      <a:lnTo>
                        <a:pt x="842" y="1792"/>
                      </a:lnTo>
                      <a:lnTo>
                        <a:pt x="832" y="1805"/>
                      </a:lnTo>
                      <a:lnTo>
                        <a:pt x="823" y="1815"/>
                      </a:lnTo>
                      <a:lnTo>
                        <a:pt x="808" y="1824"/>
                      </a:lnTo>
                      <a:lnTo>
                        <a:pt x="788" y="1859"/>
                      </a:lnTo>
                      <a:lnTo>
                        <a:pt x="781" y="1886"/>
                      </a:lnTo>
                      <a:lnTo>
                        <a:pt x="783" y="1897"/>
                      </a:lnTo>
                      <a:lnTo>
                        <a:pt x="771" y="1903"/>
                      </a:lnTo>
                      <a:lnTo>
                        <a:pt x="771" y="1920"/>
                      </a:lnTo>
                      <a:lnTo>
                        <a:pt x="773" y="1928"/>
                      </a:lnTo>
                      <a:lnTo>
                        <a:pt x="765" y="1974"/>
                      </a:lnTo>
                      <a:lnTo>
                        <a:pt x="763" y="1980"/>
                      </a:lnTo>
                      <a:lnTo>
                        <a:pt x="746" y="1997"/>
                      </a:lnTo>
                      <a:lnTo>
                        <a:pt x="738" y="2010"/>
                      </a:lnTo>
                      <a:lnTo>
                        <a:pt x="738" y="2037"/>
                      </a:lnTo>
                      <a:lnTo>
                        <a:pt x="738" y="2045"/>
                      </a:lnTo>
                      <a:lnTo>
                        <a:pt x="746" y="2047"/>
                      </a:lnTo>
                      <a:lnTo>
                        <a:pt x="765" y="2045"/>
                      </a:lnTo>
                      <a:lnTo>
                        <a:pt x="798" y="2045"/>
                      </a:lnTo>
                      <a:lnTo>
                        <a:pt x="815" y="2024"/>
                      </a:lnTo>
                      <a:lnTo>
                        <a:pt x="819" y="2007"/>
                      </a:lnTo>
                      <a:lnTo>
                        <a:pt x="817" y="1993"/>
                      </a:lnTo>
                      <a:lnTo>
                        <a:pt x="811" y="1987"/>
                      </a:lnTo>
                      <a:lnTo>
                        <a:pt x="800" y="1987"/>
                      </a:lnTo>
                      <a:lnTo>
                        <a:pt x="802" y="1980"/>
                      </a:lnTo>
                      <a:lnTo>
                        <a:pt x="809" y="1982"/>
                      </a:lnTo>
                      <a:lnTo>
                        <a:pt x="817" y="1968"/>
                      </a:lnTo>
                      <a:lnTo>
                        <a:pt x="827" y="1947"/>
                      </a:lnTo>
                      <a:lnTo>
                        <a:pt x="834" y="1913"/>
                      </a:lnTo>
                      <a:lnTo>
                        <a:pt x="840" y="1909"/>
                      </a:lnTo>
                      <a:lnTo>
                        <a:pt x="840" y="1892"/>
                      </a:lnTo>
                      <a:lnTo>
                        <a:pt x="836" y="1886"/>
                      </a:lnTo>
                      <a:lnTo>
                        <a:pt x="842" y="1867"/>
                      </a:lnTo>
                      <a:lnTo>
                        <a:pt x="850" y="1844"/>
                      </a:lnTo>
                      <a:lnTo>
                        <a:pt x="854" y="1844"/>
                      </a:lnTo>
                      <a:lnTo>
                        <a:pt x="854" y="1830"/>
                      </a:lnTo>
                      <a:lnTo>
                        <a:pt x="877" y="1815"/>
                      </a:lnTo>
                      <a:lnTo>
                        <a:pt x="888" y="1815"/>
                      </a:lnTo>
                      <a:lnTo>
                        <a:pt x="890" y="1799"/>
                      </a:lnTo>
                      <a:lnTo>
                        <a:pt x="869" y="1769"/>
                      </a:lnTo>
                      <a:lnTo>
                        <a:pt x="865" y="1748"/>
                      </a:lnTo>
                      <a:lnTo>
                        <a:pt x="859" y="1744"/>
                      </a:lnTo>
                      <a:lnTo>
                        <a:pt x="861" y="1725"/>
                      </a:lnTo>
                      <a:lnTo>
                        <a:pt x="856" y="1717"/>
                      </a:lnTo>
                      <a:lnTo>
                        <a:pt x="856" y="1682"/>
                      </a:lnTo>
                      <a:lnTo>
                        <a:pt x="867" y="1698"/>
                      </a:lnTo>
                      <a:lnTo>
                        <a:pt x="882" y="1682"/>
                      </a:lnTo>
                      <a:lnTo>
                        <a:pt x="890" y="1679"/>
                      </a:lnTo>
                      <a:lnTo>
                        <a:pt x="888" y="1667"/>
                      </a:lnTo>
                      <a:lnTo>
                        <a:pt x="896" y="1665"/>
                      </a:lnTo>
                      <a:lnTo>
                        <a:pt x="928" y="1629"/>
                      </a:lnTo>
                      <a:lnTo>
                        <a:pt x="950" y="1619"/>
                      </a:lnTo>
                      <a:lnTo>
                        <a:pt x="959" y="1600"/>
                      </a:lnTo>
                      <a:lnTo>
                        <a:pt x="973" y="1586"/>
                      </a:lnTo>
                      <a:lnTo>
                        <a:pt x="998" y="1579"/>
                      </a:lnTo>
                      <a:lnTo>
                        <a:pt x="992" y="1588"/>
                      </a:lnTo>
                      <a:lnTo>
                        <a:pt x="978" y="1590"/>
                      </a:lnTo>
                      <a:lnTo>
                        <a:pt x="965" y="1611"/>
                      </a:lnTo>
                      <a:lnTo>
                        <a:pt x="953" y="1627"/>
                      </a:lnTo>
                      <a:lnTo>
                        <a:pt x="936" y="1633"/>
                      </a:lnTo>
                      <a:lnTo>
                        <a:pt x="927" y="1640"/>
                      </a:lnTo>
                      <a:lnTo>
                        <a:pt x="900" y="1673"/>
                      </a:lnTo>
                      <a:lnTo>
                        <a:pt x="896" y="1690"/>
                      </a:lnTo>
                      <a:lnTo>
                        <a:pt x="884" y="1702"/>
                      </a:lnTo>
                      <a:lnTo>
                        <a:pt x="884" y="1719"/>
                      </a:lnTo>
                      <a:lnTo>
                        <a:pt x="888" y="1725"/>
                      </a:lnTo>
                      <a:lnTo>
                        <a:pt x="880" y="1736"/>
                      </a:lnTo>
                      <a:lnTo>
                        <a:pt x="880" y="1755"/>
                      </a:lnTo>
                      <a:lnTo>
                        <a:pt x="888" y="1759"/>
                      </a:lnTo>
                      <a:lnTo>
                        <a:pt x="890" y="1773"/>
                      </a:lnTo>
                      <a:lnTo>
                        <a:pt x="903" y="1776"/>
                      </a:lnTo>
                      <a:lnTo>
                        <a:pt x="909" y="1782"/>
                      </a:lnTo>
                      <a:lnTo>
                        <a:pt x="919" y="1786"/>
                      </a:lnTo>
                      <a:lnTo>
                        <a:pt x="915" y="1755"/>
                      </a:lnTo>
                      <a:lnTo>
                        <a:pt x="919" y="1736"/>
                      </a:lnTo>
                      <a:lnTo>
                        <a:pt x="925" y="1734"/>
                      </a:lnTo>
                      <a:lnTo>
                        <a:pt x="925" y="1717"/>
                      </a:lnTo>
                      <a:lnTo>
                        <a:pt x="930" y="1709"/>
                      </a:lnTo>
                      <a:lnTo>
                        <a:pt x="932" y="1736"/>
                      </a:lnTo>
                      <a:lnTo>
                        <a:pt x="951" y="1751"/>
                      </a:lnTo>
                      <a:lnTo>
                        <a:pt x="961" y="1751"/>
                      </a:lnTo>
                      <a:lnTo>
                        <a:pt x="957" y="1734"/>
                      </a:lnTo>
                      <a:lnTo>
                        <a:pt x="946" y="1713"/>
                      </a:lnTo>
                      <a:lnTo>
                        <a:pt x="948" y="1698"/>
                      </a:lnTo>
                      <a:lnTo>
                        <a:pt x="953" y="1705"/>
                      </a:lnTo>
                      <a:lnTo>
                        <a:pt x="953" y="1717"/>
                      </a:lnTo>
                      <a:lnTo>
                        <a:pt x="965" y="1730"/>
                      </a:lnTo>
                      <a:lnTo>
                        <a:pt x="967" y="1761"/>
                      </a:lnTo>
                      <a:lnTo>
                        <a:pt x="975" y="1774"/>
                      </a:lnTo>
                      <a:lnTo>
                        <a:pt x="986" y="1773"/>
                      </a:lnTo>
                      <a:lnTo>
                        <a:pt x="999" y="1746"/>
                      </a:lnTo>
                      <a:lnTo>
                        <a:pt x="998" y="1734"/>
                      </a:lnTo>
                      <a:lnTo>
                        <a:pt x="1007" y="1719"/>
                      </a:lnTo>
                      <a:lnTo>
                        <a:pt x="996" y="1711"/>
                      </a:lnTo>
                      <a:lnTo>
                        <a:pt x="998" y="1705"/>
                      </a:lnTo>
                      <a:lnTo>
                        <a:pt x="1011" y="1711"/>
                      </a:lnTo>
                      <a:lnTo>
                        <a:pt x="1011" y="1679"/>
                      </a:lnTo>
                      <a:lnTo>
                        <a:pt x="1022" y="1657"/>
                      </a:lnTo>
                      <a:lnTo>
                        <a:pt x="1011" y="1648"/>
                      </a:lnTo>
                      <a:lnTo>
                        <a:pt x="1013" y="1615"/>
                      </a:lnTo>
                      <a:lnTo>
                        <a:pt x="1022" y="1613"/>
                      </a:lnTo>
                      <a:lnTo>
                        <a:pt x="1021" y="1644"/>
                      </a:lnTo>
                      <a:lnTo>
                        <a:pt x="1024" y="1654"/>
                      </a:lnTo>
                      <a:lnTo>
                        <a:pt x="1034" y="1634"/>
                      </a:lnTo>
                      <a:lnTo>
                        <a:pt x="1038" y="1644"/>
                      </a:lnTo>
                      <a:lnTo>
                        <a:pt x="1019" y="1679"/>
                      </a:lnTo>
                      <a:lnTo>
                        <a:pt x="1021" y="1698"/>
                      </a:lnTo>
                      <a:lnTo>
                        <a:pt x="1026" y="1711"/>
                      </a:lnTo>
                      <a:lnTo>
                        <a:pt x="1046" y="1713"/>
                      </a:lnTo>
                      <a:lnTo>
                        <a:pt x="1046" y="1705"/>
                      </a:lnTo>
                      <a:lnTo>
                        <a:pt x="1034" y="1690"/>
                      </a:lnTo>
                      <a:lnTo>
                        <a:pt x="1032" y="1667"/>
                      </a:lnTo>
                      <a:lnTo>
                        <a:pt x="1036" y="1667"/>
                      </a:lnTo>
                      <a:lnTo>
                        <a:pt x="1042" y="1690"/>
                      </a:lnTo>
                      <a:lnTo>
                        <a:pt x="1053" y="1705"/>
                      </a:lnTo>
                      <a:lnTo>
                        <a:pt x="1063" y="1709"/>
                      </a:lnTo>
                      <a:lnTo>
                        <a:pt x="1070" y="1721"/>
                      </a:lnTo>
                      <a:lnTo>
                        <a:pt x="1093" y="1732"/>
                      </a:lnTo>
                      <a:lnTo>
                        <a:pt x="1099" y="1734"/>
                      </a:lnTo>
                      <a:lnTo>
                        <a:pt x="1113" y="1711"/>
                      </a:lnTo>
                      <a:lnTo>
                        <a:pt x="1105" y="1738"/>
                      </a:lnTo>
                      <a:lnTo>
                        <a:pt x="1120" y="1742"/>
                      </a:lnTo>
                      <a:lnTo>
                        <a:pt x="1111" y="1748"/>
                      </a:lnTo>
                      <a:lnTo>
                        <a:pt x="1093" y="1744"/>
                      </a:lnTo>
                      <a:lnTo>
                        <a:pt x="1074" y="1740"/>
                      </a:lnTo>
                      <a:lnTo>
                        <a:pt x="1047" y="1727"/>
                      </a:lnTo>
                      <a:lnTo>
                        <a:pt x="1028" y="1728"/>
                      </a:lnTo>
                      <a:lnTo>
                        <a:pt x="1015" y="1732"/>
                      </a:lnTo>
                      <a:lnTo>
                        <a:pt x="1011" y="1746"/>
                      </a:lnTo>
                      <a:lnTo>
                        <a:pt x="1007" y="1761"/>
                      </a:lnTo>
                      <a:lnTo>
                        <a:pt x="1009" y="1801"/>
                      </a:lnTo>
                      <a:lnTo>
                        <a:pt x="1015" y="1811"/>
                      </a:lnTo>
                      <a:lnTo>
                        <a:pt x="1013" y="1840"/>
                      </a:lnTo>
                      <a:lnTo>
                        <a:pt x="1005" y="1851"/>
                      </a:lnTo>
                      <a:lnTo>
                        <a:pt x="1005" y="1859"/>
                      </a:lnTo>
                      <a:lnTo>
                        <a:pt x="1011" y="1863"/>
                      </a:lnTo>
                      <a:lnTo>
                        <a:pt x="1019" y="1876"/>
                      </a:lnTo>
                      <a:lnTo>
                        <a:pt x="1034" y="1892"/>
                      </a:lnTo>
                      <a:lnTo>
                        <a:pt x="1049" y="1895"/>
                      </a:lnTo>
                      <a:lnTo>
                        <a:pt x="1055" y="1901"/>
                      </a:lnTo>
                      <a:lnTo>
                        <a:pt x="1059" y="1895"/>
                      </a:lnTo>
                      <a:lnTo>
                        <a:pt x="1065" y="1903"/>
                      </a:lnTo>
                      <a:lnTo>
                        <a:pt x="1067" y="1911"/>
                      </a:lnTo>
                      <a:lnTo>
                        <a:pt x="1070" y="1924"/>
                      </a:lnTo>
                      <a:lnTo>
                        <a:pt x="1067" y="1936"/>
                      </a:lnTo>
                      <a:lnTo>
                        <a:pt x="1080" y="1953"/>
                      </a:lnTo>
                      <a:lnTo>
                        <a:pt x="1080" y="1970"/>
                      </a:lnTo>
                      <a:lnTo>
                        <a:pt x="1074" y="1974"/>
                      </a:lnTo>
                      <a:lnTo>
                        <a:pt x="1072" y="1989"/>
                      </a:lnTo>
                      <a:lnTo>
                        <a:pt x="1053" y="1989"/>
                      </a:lnTo>
                      <a:lnTo>
                        <a:pt x="1040" y="2001"/>
                      </a:lnTo>
                      <a:lnTo>
                        <a:pt x="1036" y="2016"/>
                      </a:lnTo>
                      <a:lnTo>
                        <a:pt x="1034" y="2030"/>
                      </a:lnTo>
                      <a:lnTo>
                        <a:pt x="1017" y="2045"/>
                      </a:lnTo>
                      <a:lnTo>
                        <a:pt x="1015" y="2072"/>
                      </a:lnTo>
                      <a:lnTo>
                        <a:pt x="1005" y="2083"/>
                      </a:lnTo>
                      <a:lnTo>
                        <a:pt x="1005" y="2099"/>
                      </a:lnTo>
                      <a:lnTo>
                        <a:pt x="986" y="2112"/>
                      </a:lnTo>
                      <a:lnTo>
                        <a:pt x="982" y="2128"/>
                      </a:lnTo>
                      <a:lnTo>
                        <a:pt x="967" y="2135"/>
                      </a:lnTo>
                      <a:lnTo>
                        <a:pt x="948" y="2185"/>
                      </a:lnTo>
                      <a:lnTo>
                        <a:pt x="950" y="2206"/>
                      </a:lnTo>
                      <a:lnTo>
                        <a:pt x="965" y="2241"/>
                      </a:lnTo>
                      <a:lnTo>
                        <a:pt x="959" y="2252"/>
                      </a:lnTo>
                      <a:lnTo>
                        <a:pt x="951" y="2254"/>
                      </a:lnTo>
                      <a:lnTo>
                        <a:pt x="942" y="2243"/>
                      </a:lnTo>
                      <a:lnTo>
                        <a:pt x="940" y="2227"/>
                      </a:lnTo>
                      <a:lnTo>
                        <a:pt x="942" y="2223"/>
                      </a:lnTo>
                      <a:lnTo>
                        <a:pt x="942" y="2208"/>
                      </a:lnTo>
                      <a:lnTo>
                        <a:pt x="934" y="2199"/>
                      </a:lnTo>
                      <a:lnTo>
                        <a:pt x="923" y="2200"/>
                      </a:lnTo>
                      <a:lnTo>
                        <a:pt x="915" y="2200"/>
                      </a:lnTo>
                      <a:lnTo>
                        <a:pt x="909" y="2212"/>
                      </a:lnTo>
                      <a:lnTo>
                        <a:pt x="907" y="2250"/>
                      </a:lnTo>
                      <a:lnTo>
                        <a:pt x="917" y="2277"/>
                      </a:lnTo>
                      <a:lnTo>
                        <a:pt x="928" y="2294"/>
                      </a:lnTo>
                      <a:lnTo>
                        <a:pt x="955" y="2321"/>
                      </a:lnTo>
                      <a:lnTo>
                        <a:pt x="959" y="2340"/>
                      </a:lnTo>
                      <a:lnTo>
                        <a:pt x="967" y="2348"/>
                      </a:lnTo>
                      <a:lnTo>
                        <a:pt x="969" y="2358"/>
                      </a:lnTo>
                      <a:lnTo>
                        <a:pt x="965" y="2364"/>
                      </a:lnTo>
                      <a:lnTo>
                        <a:pt x="965" y="2375"/>
                      </a:lnTo>
                      <a:lnTo>
                        <a:pt x="975" y="2385"/>
                      </a:lnTo>
                      <a:lnTo>
                        <a:pt x="986" y="2392"/>
                      </a:lnTo>
                      <a:lnTo>
                        <a:pt x="994" y="2396"/>
                      </a:lnTo>
                      <a:lnTo>
                        <a:pt x="994" y="2390"/>
                      </a:lnTo>
                      <a:lnTo>
                        <a:pt x="984" y="2383"/>
                      </a:lnTo>
                      <a:lnTo>
                        <a:pt x="990" y="2377"/>
                      </a:lnTo>
                      <a:lnTo>
                        <a:pt x="990" y="2367"/>
                      </a:lnTo>
                      <a:lnTo>
                        <a:pt x="986" y="2362"/>
                      </a:lnTo>
                      <a:lnTo>
                        <a:pt x="982" y="2342"/>
                      </a:lnTo>
                      <a:lnTo>
                        <a:pt x="973" y="2314"/>
                      </a:lnTo>
                      <a:lnTo>
                        <a:pt x="971" y="2302"/>
                      </a:lnTo>
                      <a:lnTo>
                        <a:pt x="976" y="2294"/>
                      </a:lnTo>
                      <a:lnTo>
                        <a:pt x="992" y="2287"/>
                      </a:lnTo>
                      <a:lnTo>
                        <a:pt x="1001" y="2281"/>
                      </a:lnTo>
                      <a:lnTo>
                        <a:pt x="1013" y="2281"/>
                      </a:lnTo>
                      <a:lnTo>
                        <a:pt x="1022" y="2296"/>
                      </a:lnTo>
                      <a:lnTo>
                        <a:pt x="1036" y="2302"/>
                      </a:lnTo>
                      <a:lnTo>
                        <a:pt x="1044" y="2300"/>
                      </a:lnTo>
                      <a:lnTo>
                        <a:pt x="1059" y="2319"/>
                      </a:lnTo>
                      <a:lnTo>
                        <a:pt x="1069" y="2325"/>
                      </a:lnTo>
                      <a:lnTo>
                        <a:pt x="1076" y="2329"/>
                      </a:lnTo>
                      <a:lnTo>
                        <a:pt x="1082" y="2342"/>
                      </a:lnTo>
                      <a:lnTo>
                        <a:pt x="1099" y="2362"/>
                      </a:lnTo>
                      <a:lnTo>
                        <a:pt x="1118" y="2369"/>
                      </a:lnTo>
                      <a:lnTo>
                        <a:pt x="1124" y="2375"/>
                      </a:lnTo>
                      <a:lnTo>
                        <a:pt x="1136" y="2375"/>
                      </a:lnTo>
                      <a:lnTo>
                        <a:pt x="1145" y="2365"/>
                      </a:lnTo>
                      <a:lnTo>
                        <a:pt x="1145" y="2358"/>
                      </a:lnTo>
                      <a:lnTo>
                        <a:pt x="1141" y="2356"/>
                      </a:lnTo>
                      <a:lnTo>
                        <a:pt x="1140" y="2346"/>
                      </a:lnTo>
                      <a:lnTo>
                        <a:pt x="1145" y="2340"/>
                      </a:lnTo>
                      <a:lnTo>
                        <a:pt x="1145" y="2331"/>
                      </a:lnTo>
                      <a:lnTo>
                        <a:pt x="1140" y="2329"/>
                      </a:lnTo>
                      <a:lnTo>
                        <a:pt x="1140" y="2325"/>
                      </a:lnTo>
                      <a:lnTo>
                        <a:pt x="1141" y="2319"/>
                      </a:lnTo>
                      <a:lnTo>
                        <a:pt x="1149" y="2321"/>
                      </a:lnTo>
                      <a:lnTo>
                        <a:pt x="1147" y="2308"/>
                      </a:lnTo>
                      <a:lnTo>
                        <a:pt x="1134" y="2304"/>
                      </a:lnTo>
                      <a:lnTo>
                        <a:pt x="1126" y="2287"/>
                      </a:lnTo>
                      <a:lnTo>
                        <a:pt x="1124" y="2271"/>
                      </a:lnTo>
                      <a:lnTo>
                        <a:pt x="1136" y="2264"/>
                      </a:lnTo>
                      <a:lnTo>
                        <a:pt x="1143" y="2281"/>
                      </a:lnTo>
                      <a:lnTo>
                        <a:pt x="1163" y="2294"/>
                      </a:lnTo>
                      <a:lnTo>
                        <a:pt x="1176" y="2296"/>
                      </a:lnTo>
                      <a:lnTo>
                        <a:pt x="1184" y="2285"/>
                      </a:lnTo>
                      <a:lnTo>
                        <a:pt x="1191" y="2285"/>
                      </a:lnTo>
                      <a:lnTo>
                        <a:pt x="1184" y="2296"/>
                      </a:lnTo>
                      <a:lnTo>
                        <a:pt x="1189" y="2314"/>
                      </a:lnTo>
                      <a:lnTo>
                        <a:pt x="1201" y="2327"/>
                      </a:lnTo>
                      <a:lnTo>
                        <a:pt x="1216" y="2331"/>
                      </a:lnTo>
                      <a:lnTo>
                        <a:pt x="1224" y="2329"/>
                      </a:lnTo>
                      <a:lnTo>
                        <a:pt x="1224" y="2312"/>
                      </a:lnTo>
                      <a:lnTo>
                        <a:pt x="1234" y="2308"/>
                      </a:lnTo>
                      <a:lnTo>
                        <a:pt x="1234" y="2317"/>
                      </a:lnTo>
                      <a:lnTo>
                        <a:pt x="1230" y="2321"/>
                      </a:lnTo>
                      <a:lnTo>
                        <a:pt x="1234" y="2331"/>
                      </a:lnTo>
                      <a:lnTo>
                        <a:pt x="1259" y="2331"/>
                      </a:lnTo>
                      <a:lnTo>
                        <a:pt x="1293" y="2312"/>
                      </a:lnTo>
                      <a:lnTo>
                        <a:pt x="1299" y="2304"/>
                      </a:lnTo>
                      <a:lnTo>
                        <a:pt x="1291" y="2296"/>
                      </a:lnTo>
                      <a:lnTo>
                        <a:pt x="1295" y="2291"/>
                      </a:lnTo>
                      <a:lnTo>
                        <a:pt x="1301" y="2296"/>
                      </a:lnTo>
                      <a:lnTo>
                        <a:pt x="1303" y="2279"/>
                      </a:lnTo>
                      <a:lnTo>
                        <a:pt x="1307" y="2291"/>
                      </a:lnTo>
                      <a:lnTo>
                        <a:pt x="1318" y="2293"/>
                      </a:lnTo>
                      <a:lnTo>
                        <a:pt x="1331" y="2283"/>
                      </a:lnTo>
                      <a:lnTo>
                        <a:pt x="1343" y="2281"/>
                      </a:lnTo>
                      <a:lnTo>
                        <a:pt x="1347" y="2285"/>
                      </a:lnTo>
                      <a:lnTo>
                        <a:pt x="1366" y="2283"/>
                      </a:lnTo>
                      <a:lnTo>
                        <a:pt x="1378" y="2273"/>
                      </a:lnTo>
                      <a:lnTo>
                        <a:pt x="1376" y="2262"/>
                      </a:lnTo>
                      <a:lnTo>
                        <a:pt x="1370" y="2256"/>
                      </a:lnTo>
                      <a:lnTo>
                        <a:pt x="1374" y="2243"/>
                      </a:lnTo>
                      <a:lnTo>
                        <a:pt x="1374" y="2216"/>
                      </a:lnTo>
                      <a:lnTo>
                        <a:pt x="1381" y="2235"/>
                      </a:lnTo>
                      <a:lnTo>
                        <a:pt x="1393" y="2239"/>
                      </a:lnTo>
                      <a:lnTo>
                        <a:pt x="1406" y="2235"/>
                      </a:lnTo>
                      <a:lnTo>
                        <a:pt x="1408" y="2227"/>
                      </a:lnTo>
                      <a:lnTo>
                        <a:pt x="1424" y="2235"/>
                      </a:lnTo>
                      <a:lnTo>
                        <a:pt x="1449" y="2237"/>
                      </a:lnTo>
                      <a:lnTo>
                        <a:pt x="1458" y="2241"/>
                      </a:lnTo>
                      <a:lnTo>
                        <a:pt x="1462" y="2235"/>
                      </a:lnTo>
                      <a:lnTo>
                        <a:pt x="1489" y="2239"/>
                      </a:lnTo>
                      <a:lnTo>
                        <a:pt x="1495" y="2243"/>
                      </a:lnTo>
                      <a:lnTo>
                        <a:pt x="1502" y="2237"/>
                      </a:lnTo>
                      <a:lnTo>
                        <a:pt x="1514" y="2237"/>
                      </a:lnTo>
                      <a:lnTo>
                        <a:pt x="1525" y="2227"/>
                      </a:lnTo>
                      <a:close/>
                      <a:moveTo>
                        <a:pt x="2132" y="4397"/>
                      </a:moveTo>
                      <a:lnTo>
                        <a:pt x="2120" y="4395"/>
                      </a:lnTo>
                      <a:lnTo>
                        <a:pt x="2109" y="4380"/>
                      </a:lnTo>
                      <a:lnTo>
                        <a:pt x="2078" y="4376"/>
                      </a:lnTo>
                      <a:lnTo>
                        <a:pt x="2065" y="4363"/>
                      </a:lnTo>
                      <a:lnTo>
                        <a:pt x="2059" y="4361"/>
                      </a:lnTo>
                      <a:lnTo>
                        <a:pt x="2057" y="4376"/>
                      </a:lnTo>
                      <a:lnTo>
                        <a:pt x="2051" y="4363"/>
                      </a:lnTo>
                      <a:lnTo>
                        <a:pt x="2038" y="4374"/>
                      </a:lnTo>
                      <a:lnTo>
                        <a:pt x="2022" y="4388"/>
                      </a:lnTo>
                      <a:lnTo>
                        <a:pt x="2009" y="4384"/>
                      </a:lnTo>
                      <a:lnTo>
                        <a:pt x="1995" y="4393"/>
                      </a:lnTo>
                      <a:lnTo>
                        <a:pt x="1976" y="4397"/>
                      </a:lnTo>
                      <a:lnTo>
                        <a:pt x="1967" y="4415"/>
                      </a:lnTo>
                      <a:lnTo>
                        <a:pt x="1997" y="4413"/>
                      </a:lnTo>
                      <a:lnTo>
                        <a:pt x="2005" y="4424"/>
                      </a:lnTo>
                      <a:lnTo>
                        <a:pt x="2022" y="4432"/>
                      </a:lnTo>
                      <a:lnTo>
                        <a:pt x="2034" y="4432"/>
                      </a:lnTo>
                      <a:lnTo>
                        <a:pt x="2040" y="4443"/>
                      </a:lnTo>
                      <a:lnTo>
                        <a:pt x="2055" y="4457"/>
                      </a:lnTo>
                      <a:lnTo>
                        <a:pt x="2072" y="4457"/>
                      </a:lnTo>
                      <a:lnTo>
                        <a:pt x="2093" y="4445"/>
                      </a:lnTo>
                      <a:lnTo>
                        <a:pt x="2093" y="4432"/>
                      </a:lnTo>
                      <a:lnTo>
                        <a:pt x="2105" y="4413"/>
                      </a:lnTo>
                      <a:lnTo>
                        <a:pt x="2124" y="4409"/>
                      </a:lnTo>
                      <a:lnTo>
                        <a:pt x="2130" y="4405"/>
                      </a:lnTo>
                      <a:lnTo>
                        <a:pt x="2132" y="4397"/>
                      </a:lnTo>
                      <a:close/>
                      <a:moveTo>
                        <a:pt x="2164" y="4330"/>
                      </a:moveTo>
                      <a:lnTo>
                        <a:pt x="2157" y="4332"/>
                      </a:lnTo>
                      <a:lnTo>
                        <a:pt x="2157" y="4345"/>
                      </a:lnTo>
                      <a:lnTo>
                        <a:pt x="2153" y="4353"/>
                      </a:lnTo>
                      <a:lnTo>
                        <a:pt x="2170" y="4361"/>
                      </a:lnTo>
                      <a:lnTo>
                        <a:pt x="2174" y="4353"/>
                      </a:lnTo>
                      <a:lnTo>
                        <a:pt x="2166" y="4345"/>
                      </a:lnTo>
                      <a:lnTo>
                        <a:pt x="2164" y="4330"/>
                      </a:lnTo>
                      <a:close/>
                      <a:moveTo>
                        <a:pt x="2769" y="4033"/>
                      </a:moveTo>
                      <a:lnTo>
                        <a:pt x="2757" y="4042"/>
                      </a:lnTo>
                      <a:lnTo>
                        <a:pt x="2740" y="4044"/>
                      </a:lnTo>
                      <a:lnTo>
                        <a:pt x="2717" y="4038"/>
                      </a:lnTo>
                      <a:lnTo>
                        <a:pt x="2702" y="4019"/>
                      </a:lnTo>
                      <a:lnTo>
                        <a:pt x="2702" y="4000"/>
                      </a:lnTo>
                      <a:lnTo>
                        <a:pt x="2713" y="3998"/>
                      </a:lnTo>
                      <a:lnTo>
                        <a:pt x="2723" y="4006"/>
                      </a:lnTo>
                      <a:lnTo>
                        <a:pt x="2750" y="4004"/>
                      </a:lnTo>
                      <a:lnTo>
                        <a:pt x="2763" y="4019"/>
                      </a:lnTo>
                      <a:lnTo>
                        <a:pt x="2769" y="4033"/>
                      </a:lnTo>
                      <a:close/>
                      <a:moveTo>
                        <a:pt x="999" y="4152"/>
                      </a:moveTo>
                      <a:lnTo>
                        <a:pt x="992" y="4142"/>
                      </a:lnTo>
                      <a:lnTo>
                        <a:pt x="992" y="4127"/>
                      </a:lnTo>
                      <a:lnTo>
                        <a:pt x="984" y="4125"/>
                      </a:lnTo>
                      <a:lnTo>
                        <a:pt x="984" y="4154"/>
                      </a:lnTo>
                      <a:lnTo>
                        <a:pt x="999" y="4152"/>
                      </a:lnTo>
                      <a:close/>
                      <a:moveTo>
                        <a:pt x="1876" y="1874"/>
                      </a:moveTo>
                      <a:lnTo>
                        <a:pt x="1898" y="1880"/>
                      </a:lnTo>
                      <a:lnTo>
                        <a:pt x="1898" y="1890"/>
                      </a:lnTo>
                      <a:lnTo>
                        <a:pt x="1886" y="1890"/>
                      </a:lnTo>
                      <a:lnTo>
                        <a:pt x="1886" y="1884"/>
                      </a:lnTo>
                      <a:lnTo>
                        <a:pt x="1878" y="1884"/>
                      </a:lnTo>
                      <a:lnTo>
                        <a:pt x="1876" y="1874"/>
                      </a:lnTo>
                      <a:close/>
                    </a:path>
                  </a:pathLst>
                </a:custGeom>
                <a:solidFill>
                  <a:srgbClr val="D1D0E1"/>
                </a:solidFill>
                <a:ln w="6350" cap="flat" cmpd="sng">
                  <a:solidFill>
                    <a:srgbClr val="7673A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3" name="Rectangle 181"/>
                <p:cNvSpPr>
                  <a:spLocks noChangeArrowheads="1"/>
                </p:cNvSpPr>
                <p:nvPr/>
              </p:nvSpPr>
              <p:spPr bwMode="gray">
                <a:xfrm>
                  <a:off x="2457450" y="5391150"/>
                  <a:ext cx="1512888" cy="8032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D1D0E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6350" algn="ctr">
                      <a:solidFill>
                        <a:srgbClr val="7673A6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endParaRPr lang="en-US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4" name="Rectangle 182"/>
                <p:cNvSpPr>
                  <a:spLocks noChangeArrowheads="1"/>
                </p:cNvSpPr>
                <p:nvPr/>
              </p:nvSpPr>
              <p:spPr bwMode="auto">
                <a:xfrm>
                  <a:off x="2268538" y="620713"/>
                  <a:ext cx="6335712" cy="56546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6350">
                      <a:solidFill>
                        <a:srgbClr val="7673A6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endParaRPr lang="en-US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5" name="Oval 183"/>
                <p:cNvSpPr>
                  <a:spLocks noChangeArrowheads="1"/>
                </p:cNvSpPr>
                <p:nvPr/>
              </p:nvSpPr>
              <p:spPr bwMode="auto">
                <a:xfrm>
                  <a:off x="2767862" y="5687744"/>
                  <a:ext cx="85725" cy="77789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endParaRPr lang="en-US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8" name="Text Box 186"/>
                <p:cNvSpPr txBox="1">
                  <a:spLocks noChangeArrowheads="1"/>
                </p:cNvSpPr>
                <p:nvPr/>
              </p:nvSpPr>
              <p:spPr bwMode="auto">
                <a:xfrm>
                  <a:off x="2826276" y="5589588"/>
                  <a:ext cx="1424781" cy="27944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89989" tIns="46794" rIns="89989" bIns="46794">
                  <a:spAutoFit/>
                </a:bodyPr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r>
                    <a:rPr lang="en-GB" altLang="en-US" sz="1000" b="1" dirty="0" smtClean="0">
                      <a:solidFill>
                        <a:prstClr val="black"/>
                      </a:solidFill>
                      <a:ea typeface="MS PGothic" pitchFamily="34" charset="-128"/>
                    </a:rPr>
                    <a:t>NHSSC Coalville</a:t>
                  </a:r>
                  <a:endParaRPr lang="en-US" altLang="en-US" sz="1000" b="1" dirty="0">
                    <a:solidFill>
                      <a:prstClr val="black"/>
                    </a:solidFill>
                    <a:ea typeface="MS PGothic" pitchFamily="34" charset="-128"/>
                  </a:endParaRPr>
                </a:p>
              </p:txBody>
            </p:sp>
            <p:sp>
              <p:nvSpPr>
                <p:cNvPr id="66" name="Rectangle 189"/>
                <p:cNvSpPr>
                  <a:spLocks noChangeArrowheads="1"/>
                </p:cNvSpPr>
                <p:nvPr/>
              </p:nvSpPr>
              <p:spPr bwMode="auto">
                <a:xfrm>
                  <a:off x="5465469" y="5579257"/>
                  <a:ext cx="242888" cy="2190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7673A6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89989" tIns="46794" rIns="89989" bIns="46794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r>
                    <a:rPr lang="en-GB" altLang="en-US" sz="900" dirty="0">
                      <a:solidFill>
                        <a:prstClr val="black"/>
                      </a:solidFill>
                      <a:ea typeface="MS PGothic" pitchFamily="34" charset="-128"/>
                    </a:rPr>
                    <a:t>Bridgwater</a:t>
                  </a:r>
                </a:p>
              </p:txBody>
            </p:sp>
            <p:sp>
              <p:nvSpPr>
                <p:cNvPr id="69" name="Oval 192"/>
                <p:cNvSpPr>
                  <a:spLocks noChangeArrowheads="1"/>
                </p:cNvSpPr>
                <p:nvPr/>
              </p:nvSpPr>
              <p:spPr bwMode="auto">
                <a:xfrm>
                  <a:off x="5478463" y="5570538"/>
                  <a:ext cx="85725" cy="77787"/>
                </a:xfrm>
                <a:prstGeom prst="ellipse">
                  <a:avLst/>
                </a:prstGeom>
                <a:solidFill>
                  <a:srgbClr val="005B9C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endParaRPr lang="en-US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6" name="Freeform 199"/>
                <p:cNvSpPr>
                  <a:spLocks noChangeAspect="1" noEditPoints="1"/>
                </p:cNvSpPr>
                <p:nvPr/>
              </p:nvSpPr>
              <p:spPr bwMode="gray">
                <a:xfrm>
                  <a:off x="2730500" y="2967038"/>
                  <a:ext cx="1976438" cy="2443162"/>
                </a:xfrm>
                <a:custGeom>
                  <a:avLst/>
                  <a:gdLst>
                    <a:gd name="T0" fmla="*/ 2147483647 w 1573"/>
                    <a:gd name="T1" fmla="*/ 2147483647 h 2203"/>
                    <a:gd name="T2" fmla="*/ 2147483647 w 1573"/>
                    <a:gd name="T3" fmla="*/ 2147483647 h 2203"/>
                    <a:gd name="T4" fmla="*/ 2147483647 w 1573"/>
                    <a:gd name="T5" fmla="*/ 2147483647 h 2203"/>
                    <a:gd name="T6" fmla="*/ 2147483647 w 1573"/>
                    <a:gd name="T7" fmla="*/ 2147483647 h 2203"/>
                    <a:gd name="T8" fmla="*/ 2147483647 w 1573"/>
                    <a:gd name="T9" fmla="*/ 2147483647 h 2203"/>
                    <a:gd name="T10" fmla="*/ 2147483647 w 1573"/>
                    <a:gd name="T11" fmla="*/ 2147483647 h 2203"/>
                    <a:gd name="T12" fmla="*/ 2147483647 w 1573"/>
                    <a:gd name="T13" fmla="*/ 2147483647 h 2203"/>
                    <a:gd name="T14" fmla="*/ 2147483647 w 1573"/>
                    <a:gd name="T15" fmla="*/ 2147483647 h 2203"/>
                    <a:gd name="T16" fmla="*/ 2147483647 w 1573"/>
                    <a:gd name="T17" fmla="*/ 2147483647 h 2203"/>
                    <a:gd name="T18" fmla="*/ 2147483647 w 1573"/>
                    <a:gd name="T19" fmla="*/ 2147483647 h 2203"/>
                    <a:gd name="T20" fmla="*/ 2147483647 w 1573"/>
                    <a:gd name="T21" fmla="*/ 2147483647 h 2203"/>
                    <a:gd name="T22" fmla="*/ 2147483647 w 1573"/>
                    <a:gd name="T23" fmla="*/ 2147483647 h 2203"/>
                    <a:gd name="T24" fmla="*/ 2147483647 w 1573"/>
                    <a:gd name="T25" fmla="*/ 2147483647 h 2203"/>
                    <a:gd name="T26" fmla="*/ 2147483647 w 1573"/>
                    <a:gd name="T27" fmla="*/ 2147483647 h 2203"/>
                    <a:gd name="T28" fmla="*/ 2147483647 w 1573"/>
                    <a:gd name="T29" fmla="*/ 2147483647 h 2203"/>
                    <a:gd name="T30" fmla="*/ 2147483647 w 1573"/>
                    <a:gd name="T31" fmla="*/ 2147483647 h 2203"/>
                    <a:gd name="T32" fmla="*/ 2147483647 w 1573"/>
                    <a:gd name="T33" fmla="*/ 2147483647 h 2203"/>
                    <a:gd name="T34" fmla="*/ 2147483647 w 1573"/>
                    <a:gd name="T35" fmla="*/ 2147483647 h 2203"/>
                    <a:gd name="T36" fmla="*/ 2147483647 w 1573"/>
                    <a:gd name="T37" fmla="*/ 2147483647 h 2203"/>
                    <a:gd name="T38" fmla="*/ 2147483647 w 1573"/>
                    <a:gd name="T39" fmla="*/ 2147483647 h 2203"/>
                    <a:gd name="T40" fmla="*/ 2147483647 w 1573"/>
                    <a:gd name="T41" fmla="*/ 2147483647 h 2203"/>
                    <a:gd name="T42" fmla="*/ 2147483647 w 1573"/>
                    <a:gd name="T43" fmla="*/ 2147483647 h 2203"/>
                    <a:gd name="T44" fmla="*/ 2147483647 w 1573"/>
                    <a:gd name="T45" fmla="*/ 2147483647 h 2203"/>
                    <a:gd name="T46" fmla="*/ 2147483647 w 1573"/>
                    <a:gd name="T47" fmla="*/ 2147483647 h 2203"/>
                    <a:gd name="T48" fmla="*/ 2147483647 w 1573"/>
                    <a:gd name="T49" fmla="*/ 2147483647 h 2203"/>
                    <a:gd name="T50" fmla="*/ 2147483647 w 1573"/>
                    <a:gd name="T51" fmla="*/ 2147483647 h 2203"/>
                    <a:gd name="T52" fmla="*/ 2147483647 w 1573"/>
                    <a:gd name="T53" fmla="*/ 2147483647 h 2203"/>
                    <a:gd name="T54" fmla="*/ 2147483647 w 1573"/>
                    <a:gd name="T55" fmla="*/ 2147483647 h 2203"/>
                    <a:gd name="T56" fmla="*/ 2147483647 w 1573"/>
                    <a:gd name="T57" fmla="*/ 2147483647 h 2203"/>
                    <a:gd name="T58" fmla="*/ 2147483647 w 1573"/>
                    <a:gd name="T59" fmla="*/ 2147483647 h 2203"/>
                    <a:gd name="T60" fmla="*/ 2147483647 w 1573"/>
                    <a:gd name="T61" fmla="*/ 2147483647 h 2203"/>
                    <a:gd name="T62" fmla="*/ 2147483647 w 1573"/>
                    <a:gd name="T63" fmla="*/ 2147483647 h 2203"/>
                    <a:gd name="T64" fmla="*/ 2147483647 w 1573"/>
                    <a:gd name="T65" fmla="*/ 2147483647 h 2203"/>
                    <a:gd name="T66" fmla="*/ 2147483647 w 1573"/>
                    <a:gd name="T67" fmla="*/ 2147483647 h 2203"/>
                    <a:gd name="T68" fmla="*/ 2147483647 w 1573"/>
                    <a:gd name="T69" fmla="*/ 2147483647 h 2203"/>
                    <a:gd name="T70" fmla="*/ 2147483647 w 1573"/>
                    <a:gd name="T71" fmla="*/ 2147483647 h 2203"/>
                    <a:gd name="T72" fmla="*/ 2147483647 w 1573"/>
                    <a:gd name="T73" fmla="*/ 2147483647 h 2203"/>
                    <a:gd name="T74" fmla="*/ 2147483647 w 1573"/>
                    <a:gd name="T75" fmla="*/ 2147483647 h 2203"/>
                    <a:gd name="T76" fmla="*/ 2147483647 w 1573"/>
                    <a:gd name="T77" fmla="*/ 2147483647 h 2203"/>
                    <a:gd name="T78" fmla="*/ 2147483647 w 1573"/>
                    <a:gd name="T79" fmla="*/ 2147483647 h 2203"/>
                    <a:gd name="T80" fmla="*/ 2147483647 w 1573"/>
                    <a:gd name="T81" fmla="*/ 2147483647 h 2203"/>
                    <a:gd name="T82" fmla="*/ 2147483647 w 1573"/>
                    <a:gd name="T83" fmla="*/ 2147483647 h 2203"/>
                    <a:gd name="T84" fmla="*/ 2147483647 w 1573"/>
                    <a:gd name="T85" fmla="*/ 2147483647 h 2203"/>
                    <a:gd name="T86" fmla="*/ 2147483647 w 1573"/>
                    <a:gd name="T87" fmla="*/ 2147483647 h 2203"/>
                    <a:gd name="T88" fmla="*/ 2147483647 w 1573"/>
                    <a:gd name="T89" fmla="*/ 2147483647 h 2203"/>
                    <a:gd name="T90" fmla="*/ 2147483647 w 1573"/>
                    <a:gd name="T91" fmla="*/ 2147483647 h 2203"/>
                    <a:gd name="T92" fmla="*/ 2147483647 w 1573"/>
                    <a:gd name="T93" fmla="*/ 2147483647 h 2203"/>
                    <a:gd name="T94" fmla="*/ 2147483647 w 1573"/>
                    <a:gd name="T95" fmla="*/ 2147483647 h 2203"/>
                    <a:gd name="T96" fmla="*/ 2147483647 w 1573"/>
                    <a:gd name="T97" fmla="*/ 2147483647 h 2203"/>
                    <a:gd name="T98" fmla="*/ 2147483647 w 1573"/>
                    <a:gd name="T99" fmla="*/ 2147483647 h 2203"/>
                    <a:gd name="T100" fmla="*/ 2147483647 w 1573"/>
                    <a:gd name="T101" fmla="*/ 2147483647 h 2203"/>
                    <a:gd name="T102" fmla="*/ 2147483647 w 1573"/>
                    <a:gd name="T103" fmla="*/ 2147483647 h 2203"/>
                    <a:gd name="T104" fmla="*/ 2147483647 w 1573"/>
                    <a:gd name="T105" fmla="*/ 2147483647 h 2203"/>
                    <a:gd name="T106" fmla="*/ 2147483647 w 1573"/>
                    <a:gd name="T107" fmla="*/ 2147483647 h 2203"/>
                    <a:gd name="T108" fmla="*/ 2147483647 w 1573"/>
                    <a:gd name="T109" fmla="*/ 2147483647 h 2203"/>
                    <a:gd name="T110" fmla="*/ 2147483647 w 1573"/>
                    <a:gd name="T111" fmla="*/ 2147483647 h 2203"/>
                    <a:gd name="T112" fmla="*/ 2147483647 w 1573"/>
                    <a:gd name="T113" fmla="*/ 2147483647 h 2203"/>
                    <a:gd name="T114" fmla="*/ 2147483647 w 1573"/>
                    <a:gd name="T115" fmla="*/ 2147483647 h 2203"/>
                    <a:gd name="T116" fmla="*/ 2147483647 w 1573"/>
                    <a:gd name="T117" fmla="*/ 2147483647 h 2203"/>
                    <a:gd name="T118" fmla="*/ 2147483647 w 1573"/>
                    <a:gd name="T119" fmla="*/ 2147483647 h 2203"/>
                    <a:gd name="T120" fmla="*/ 2147483647 w 1573"/>
                    <a:gd name="T121" fmla="*/ 2147483647 h 2203"/>
                    <a:gd name="T122" fmla="*/ 2147483647 w 1573"/>
                    <a:gd name="T123" fmla="*/ 2147483647 h 2203"/>
                    <a:gd name="T124" fmla="*/ 2147483647 w 1573"/>
                    <a:gd name="T125" fmla="*/ 2147483647 h 2203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0" t="0" r="r" b="b"/>
                  <a:pathLst>
                    <a:path w="1573" h="2203">
                      <a:moveTo>
                        <a:pt x="850" y="512"/>
                      </a:moveTo>
                      <a:lnTo>
                        <a:pt x="851" y="508"/>
                      </a:lnTo>
                      <a:lnTo>
                        <a:pt x="865" y="507"/>
                      </a:lnTo>
                      <a:lnTo>
                        <a:pt x="874" y="499"/>
                      </a:lnTo>
                      <a:lnTo>
                        <a:pt x="884" y="495"/>
                      </a:lnTo>
                      <a:lnTo>
                        <a:pt x="885" y="489"/>
                      </a:lnTo>
                      <a:lnTo>
                        <a:pt x="887" y="482"/>
                      </a:lnTo>
                      <a:lnTo>
                        <a:pt x="892" y="475"/>
                      </a:lnTo>
                      <a:lnTo>
                        <a:pt x="899" y="470"/>
                      </a:lnTo>
                      <a:lnTo>
                        <a:pt x="908" y="464"/>
                      </a:lnTo>
                      <a:lnTo>
                        <a:pt x="914" y="469"/>
                      </a:lnTo>
                      <a:lnTo>
                        <a:pt x="922" y="467"/>
                      </a:lnTo>
                      <a:lnTo>
                        <a:pt x="944" y="469"/>
                      </a:lnTo>
                      <a:lnTo>
                        <a:pt x="952" y="464"/>
                      </a:lnTo>
                      <a:lnTo>
                        <a:pt x="956" y="457"/>
                      </a:lnTo>
                      <a:lnTo>
                        <a:pt x="966" y="446"/>
                      </a:lnTo>
                      <a:lnTo>
                        <a:pt x="970" y="439"/>
                      </a:lnTo>
                      <a:lnTo>
                        <a:pt x="983" y="436"/>
                      </a:lnTo>
                      <a:lnTo>
                        <a:pt x="990" y="431"/>
                      </a:lnTo>
                      <a:lnTo>
                        <a:pt x="997" y="428"/>
                      </a:lnTo>
                      <a:lnTo>
                        <a:pt x="996" y="420"/>
                      </a:lnTo>
                      <a:lnTo>
                        <a:pt x="992" y="419"/>
                      </a:lnTo>
                      <a:lnTo>
                        <a:pt x="988" y="424"/>
                      </a:lnTo>
                      <a:lnTo>
                        <a:pt x="981" y="421"/>
                      </a:lnTo>
                      <a:lnTo>
                        <a:pt x="971" y="418"/>
                      </a:lnTo>
                      <a:lnTo>
                        <a:pt x="962" y="413"/>
                      </a:lnTo>
                      <a:lnTo>
                        <a:pt x="952" y="413"/>
                      </a:lnTo>
                      <a:lnTo>
                        <a:pt x="944" y="410"/>
                      </a:lnTo>
                      <a:lnTo>
                        <a:pt x="940" y="407"/>
                      </a:lnTo>
                      <a:lnTo>
                        <a:pt x="938" y="402"/>
                      </a:lnTo>
                      <a:lnTo>
                        <a:pt x="933" y="398"/>
                      </a:lnTo>
                      <a:lnTo>
                        <a:pt x="929" y="392"/>
                      </a:lnTo>
                      <a:lnTo>
                        <a:pt x="928" y="386"/>
                      </a:lnTo>
                      <a:lnTo>
                        <a:pt x="931" y="376"/>
                      </a:lnTo>
                      <a:lnTo>
                        <a:pt x="939" y="369"/>
                      </a:lnTo>
                      <a:lnTo>
                        <a:pt x="941" y="360"/>
                      </a:lnTo>
                      <a:lnTo>
                        <a:pt x="946" y="355"/>
                      </a:lnTo>
                      <a:lnTo>
                        <a:pt x="954" y="355"/>
                      </a:lnTo>
                      <a:lnTo>
                        <a:pt x="959" y="360"/>
                      </a:lnTo>
                      <a:lnTo>
                        <a:pt x="966" y="367"/>
                      </a:lnTo>
                      <a:lnTo>
                        <a:pt x="973" y="372"/>
                      </a:lnTo>
                      <a:lnTo>
                        <a:pt x="979" y="373"/>
                      </a:lnTo>
                      <a:lnTo>
                        <a:pt x="984" y="372"/>
                      </a:lnTo>
                      <a:lnTo>
                        <a:pt x="996" y="363"/>
                      </a:lnTo>
                      <a:lnTo>
                        <a:pt x="1003" y="357"/>
                      </a:lnTo>
                      <a:lnTo>
                        <a:pt x="1011" y="353"/>
                      </a:lnTo>
                      <a:lnTo>
                        <a:pt x="1019" y="353"/>
                      </a:lnTo>
                      <a:lnTo>
                        <a:pt x="1032" y="356"/>
                      </a:lnTo>
                      <a:lnTo>
                        <a:pt x="1042" y="357"/>
                      </a:lnTo>
                      <a:lnTo>
                        <a:pt x="1044" y="355"/>
                      </a:lnTo>
                      <a:lnTo>
                        <a:pt x="1048" y="345"/>
                      </a:lnTo>
                      <a:lnTo>
                        <a:pt x="1050" y="339"/>
                      </a:lnTo>
                      <a:lnTo>
                        <a:pt x="1050" y="335"/>
                      </a:lnTo>
                      <a:lnTo>
                        <a:pt x="1050" y="329"/>
                      </a:lnTo>
                      <a:lnTo>
                        <a:pt x="1055" y="319"/>
                      </a:lnTo>
                      <a:lnTo>
                        <a:pt x="1059" y="309"/>
                      </a:lnTo>
                      <a:lnTo>
                        <a:pt x="1065" y="309"/>
                      </a:lnTo>
                      <a:lnTo>
                        <a:pt x="1072" y="309"/>
                      </a:lnTo>
                      <a:lnTo>
                        <a:pt x="1074" y="304"/>
                      </a:lnTo>
                      <a:lnTo>
                        <a:pt x="1065" y="298"/>
                      </a:lnTo>
                      <a:lnTo>
                        <a:pt x="1068" y="291"/>
                      </a:lnTo>
                      <a:lnTo>
                        <a:pt x="1075" y="285"/>
                      </a:lnTo>
                      <a:lnTo>
                        <a:pt x="1078" y="278"/>
                      </a:lnTo>
                      <a:lnTo>
                        <a:pt x="1079" y="270"/>
                      </a:lnTo>
                      <a:lnTo>
                        <a:pt x="1080" y="266"/>
                      </a:lnTo>
                      <a:lnTo>
                        <a:pt x="1080" y="259"/>
                      </a:lnTo>
                      <a:lnTo>
                        <a:pt x="1079" y="253"/>
                      </a:lnTo>
                      <a:lnTo>
                        <a:pt x="1081" y="239"/>
                      </a:lnTo>
                      <a:lnTo>
                        <a:pt x="1088" y="236"/>
                      </a:lnTo>
                      <a:lnTo>
                        <a:pt x="1090" y="228"/>
                      </a:lnTo>
                      <a:lnTo>
                        <a:pt x="1089" y="218"/>
                      </a:lnTo>
                      <a:lnTo>
                        <a:pt x="1087" y="209"/>
                      </a:lnTo>
                      <a:lnTo>
                        <a:pt x="1096" y="197"/>
                      </a:lnTo>
                      <a:lnTo>
                        <a:pt x="1102" y="187"/>
                      </a:lnTo>
                      <a:lnTo>
                        <a:pt x="1111" y="182"/>
                      </a:lnTo>
                      <a:lnTo>
                        <a:pt x="1128" y="183"/>
                      </a:lnTo>
                      <a:lnTo>
                        <a:pt x="1136" y="179"/>
                      </a:lnTo>
                      <a:lnTo>
                        <a:pt x="1140" y="177"/>
                      </a:lnTo>
                      <a:lnTo>
                        <a:pt x="1140" y="170"/>
                      </a:lnTo>
                      <a:lnTo>
                        <a:pt x="1144" y="163"/>
                      </a:lnTo>
                      <a:lnTo>
                        <a:pt x="1150" y="153"/>
                      </a:lnTo>
                      <a:lnTo>
                        <a:pt x="1157" y="140"/>
                      </a:lnTo>
                      <a:lnTo>
                        <a:pt x="1163" y="133"/>
                      </a:lnTo>
                      <a:lnTo>
                        <a:pt x="1169" y="121"/>
                      </a:lnTo>
                      <a:lnTo>
                        <a:pt x="1193" y="114"/>
                      </a:lnTo>
                      <a:lnTo>
                        <a:pt x="1201" y="106"/>
                      </a:lnTo>
                      <a:lnTo>
                        <a:pt x="1210" y="100"/>
                      </a:lnTo>
                      <a:lnTo>
                        <a:pt x="1221" y="95"/>
                      </a:lnTo>
                      <a:lnTo>
                        <a:pt x="1226" y="89"/>
                      </a:lnTo>
                      <a:lnTo>
                        <a:pt x="1237" y="86"/>
                      </a:lnTo>
                      <a:lnTo>
                        <a:pt x="1238" y="77"/>
                      </a:lnTo>
                      <a:lnTo>
                        <a:pt x="1233" y="68"/>
                      </a:lnTo>
                      <a:lnTo>
                        <a:pt x="1225" y="68"/>
                      </a:lnTo>
                      <a:lnTo>
                        <a:pt x="1215" y="66"/>
                      </a:lnTo>
                      <a:lnTo>
                        <a:pt x="1205" y="60"/>
                      </a:lnTo>
                      <a:lnTo>
                        <a:pt x="1197" y="62"/>
                      </a:lnTo>
                      <a:lnTo>
                        <a:pt x="1189" y="56"/>
                      </a:lnTo>
                      <a:lnTo>
                        <a:pt x="1180" y="52"/>
                      </a:lnTo>
                      <a:lnTo>
                        <a:pt x="1174" y="45"/>
                      </a:lnTo>
                      <a:lnTo>
                        <a:pt x="1165" y="34"/>
                      </a:lnTo>
                      <a:lnTo>
                        <a:pt x="1160" y="24"/>
                      </a:lnTo>
                      <a:lnTo>
                        <a:pt x="1151" y="20"/>
                      </a:lnTo>
                      <a:lnTo>
                        <a:pt x="1143" y="13"/>
                      </a:lnTo>
                      <a:lnTo>
                        <a:pt x="1135" y="11"/>
                      </a:lnTo>
                      <a:lnTo>
                        <a:pt x="1126" y="7"/>
                      </a:lnTo>
                      <a:lnTo>
                        <a:pt x="1119" y="4"/>
                      </a:lnTo>
                      <a:lnTo>
                        <a:pt x="1110" y="4"/>
                      </a:lnTo>
                      <a:lnTo>
                        <a:pt x="1101" y="0"/>
                      </a:lnTo>
                      <a:lnTo>
                        <a:pt x="1089" y="2"/>
                      </a:lnTo>
                      <a:lnTo>
                        <a:pt x="1090" y="7"/>
                      </a:lnTo>
                      <a:lnTo>
                        <a:pt x="1097" y="12"/>
                      </a:lnTo>
                      <a:lnTo>
                        <a:pt x="1105" y="14"/>
                      </a:lnTo>
                      <a:lnTo>
                        <a:pt x="1109" y="20"/>
                      </a:lnTo>
                      <a:lnTo>
                        <a:pt x="1101" y="20"/>
                      </a:lnTo>
                      <a:lnTo>
                        <a:pt x="1101" y="26"/>
                      </a:lnTo>
                      <a:lnTo>
                        <a:pt x="1109" y="33"/>
                      </a:lnTo>
                      <a:lnTo>
                        <a:pt x="1112" y="39"/>
                      </a:lnTo>
                      <a:lnTo>
                        <a:pt x="1123" y="46"/>
                      </a:lnTo>
                      <a:lnTo>
                        <a:pt x="1133" y="50"/>
                      </a:lnTo>
                      <a:lnTo>
                        <a:pt x="1133" y="58"/>
                      </a:lnTo>
                      <a:lnTo>
                        <a:pt x="1123" y="56"/>
                      </a:lnTo>
                      <a:lnTo>
                        <a:pt x="1115" y="56"/>
                      </a:lnTo>
                      <a:lnTo>
                        <a:pt x="1108" y="52"/>
                      </a:lnTo>
                      <a:lnTo>
                        <a:pt x="1113" y="49"/>
                      </a:lnTo>
                      <a:lnTo>
                        <a:pt x="1110" y="44"/>
                      </a:lnTo>
                      <a:lnTo>
                        <a:pt x="1104" y="39"/>
                      </a:lnTo>
                      <a:lnTo>
                        <a:pt x="1096" y="37"/>
                      </a:lnTo>
                      <a:lnTo>
                        <a:pt x="1088" y="47"/>
                      </a:lnTo>
                      <a:lnTo>
                        <a:pt x="1073" y="56"/>
                      </a:lnTo>
                      <a:lnTo>
                        <a:pt x="1064" y="50"/>
                      </a:lnTo>
                      <a:lnTo>
                        <a:pt x="1059" y="53"/>
                      </a:lnTo>
                      <a:lnTo>
                        <a:pt x="1048" y="56"/>
                      </a:lnTo>
                      <a:lnTo>
                        <a:pt x="1050" y="64"/>
                      </a:lnTo>
                      <a:lnTo>
                        <a:pt x="1051" y="68"/>
                      </a:lnTo>
                      <a:lnTo>
                        <a:pt x="1047" y="72"/>
                      </a:lnTo>
                      <a:lnTo>
                        <a:pt x="1046" y="80"/>
                      </a:lnTo>
                      <a:lnTo>
                        <a:pt x="1044" y="88"/>
                      </a:lnTo>
                      <a:lnTo>
                        <a:pt x="1041" y="100"/>
                      </a:lnTo>
                      <a:lnTo>
                        <a:pt x="1044" y="105"/>
                      </a:lnTo>
                      <a:lnTo>
                        <a:pt x="1051" y="110"/>
                      </a:lnTo>
                      <a:lnTo>
                        <a:pt x="1055" y="115"/>
                      </a:lnTo>
                      <a:lnTo>
                        <a:pt x="1063" y="127"/>
                      </a:lnTo>
                      <a:lnTo>
                        <a:pt x="1067" y="133"/>
                      </a:lnTo>
                      <a:lnTo>
                        <a:pt x="1065" y="142"/>
                      </a:lnTo>
                      <a:lnTo>
                        <a:pt x="1065" y="150"/>
                      </a:lnTo>
                      <a:lnTo>
                        <a:pt x="1063" y="155"/>
                      </a:lnTo>
                      <a:lnTo>
                        <a:pt x="1062" y="164"/>
                      </a:lnTo>
                      <a:lnTo>
                        <a:pt x="1070" y="172"/>
                      </a:lnTo>
                      <a:lnTo>
                        <a:pt x="1070" y="181"/>
                      </a:lnTo>
                      <a:lnTo>
                        <a:pt x="1067" y="186"/>
                      </a:lnTo>
                      <a:lnTo>
                        <a:pt x="1052" y="193"/>
                      </a:lnTo>
                      <a:lnTo>
                        <a:pt x="1046" y="197"/>
                      </a:lnTo>
                      <a:lnTo>
                        <a:pt x="1036" y="206"/>
                      </a:lnTo>
                      <a:lnTo>
                        <a:pt x="1026" y="213"/>
                      </a:lnTo>
                      <a:lnTo>
                        <a:pt x="1021" y="223"/>
                      </a:lnTo>
                      <a:lnTo>
                        <a:pt x="1013" y="234"/>
                      </a:lnTo>
                      <a:lnTo>
                        <a:pt x="1010" y="228"/>
                      </a:lnTo>
                      <a:lnTo>
                        <a:pt x="1015" y="220"/>
                      </a:lnTo>
                      <a:lnTo>
                        <a:pt x="1019" y="213"/>
                      </a:lnTo>
                      <a:lnTo>
                        <a:pt x="1025" y="206"/>
                      </a:lnTo>
                      <a:lnTo>
                        <a:pt x="1036" y="200"/>
                      </a:lnTo>
                      <a:lnTo>
                        <a:pt x="1039" y="191"/>
                      </a:lnTo>
                      <a:lnTo>
                        <a:pt x="1034" y="184"/>
                      </a:lnTo>
                      <a:lnTo>
                        <a:pt x="1027" y="184"/>
                      </a:lnTo>
                      <a:lnTo>
                        <a:pt x="1020" y="187"/>
                      </a:lnTo>
                      <a:lnTo>
                        <a:pt x="1013" y="187"/>
                      </a:lnTo>
                      <a:lnTo>
                        <a:pt x="1014" y="181"/>
                      </a:lnTo>
                      <a:lnTo>
                        <a:pt x="1026" y="178"/>
                      </a:lnTo>
                      <a:lnTo>
                        <a:pt x="1030" y="170"/>
                      </a:lnTo>
                      <a:lnTo>
                        <a:pt x="1037" y="164"/>
                      </a:lnTo>
                      <a:lnTo>
                        <a:pt x="1046" y="162"/>
                      </a:lnTo>
                      <a:lnTo>
                        <a:pt x="1048" y="158"/>
                      </a:lnTo>
                      <a:lnTo>
                        <a:pt x="1049" y="152"/>
                      </a:lnTo>
                      <a:lnTo>
                        <a:pt x="1050" y="146"/>
                      </a:lnTo>
                      <a:lnTo>
                        <a:pt x="1049" y="138"/>
                      </a:lnTo>
                      <a:lnTo>
                        <a:pt x="1044" y="131"/>
                      </a:lnTo>
                      <a:lnTo>
                        <a:pt x="1037" y="121"/>
                      </a:lnTo>
                      <a:lnTo>
                        <a:pt x="1033" y="114"/>
                      </a:lnTo>
                      <a:lnTo>
                        <a:pt x="1028" y="110"/>
                      </a:lnTo>
                      <a:lnTo>
                        <a:pt x="1022" y="106"/>
                      </a:lnTo>
                      <a:lnTo>
                        <a:pt x="1018" y="102"/>
                      </a:lnTo>
                      <a:lnTo>
                        <a:pt x="1021" y="95"/>
                      </a:lnTo>
                      <a:lnTo>
                        <a:pt x="1022" y="89"/>
                      </a:lnTo>
                      <a:lnTo>
                        <a:pt x="1023" y="79"/>
                      </a:lnTo>
                      <a:lnTo>
                        <a:pt x="1020" y="72"/>
                      </a:lnTo>
                      <a:lnTo>
                        <a:pt x="1017" y="62"/>
                      </a:lnTo>
                      <a:lnTo>
                        <a:pt x="1015" y="56"/>
                      </a:lnTo>
                      <a:lnTo>
                        <a:pt x="1015" y="52"/>
                      </a:lnTo>
                      <a:lnTo>
                        <a:pt x="1007" y="60"/>
                      </a:lnTo>
                      <a:lnTo>
                        <a:pt x="998" y="68"/>
                      </a:lnTo>
                      <a:lnTo>
                        <a:pt x="994" y="73"/>
                      </a:lnTo>
                      <a:lnTo>
                        <a:pt x="988" y="72"/>
                      </a:lnTo>
                      <a:lnTo>
                        <a:pt x="980" y="73"/>
                      </a:lnTo>
                      <a:lnTo>
                        <a:pt x="977" y="77"/>
                      </a:lnTo>
                      <a:lnTo>
                        <a:pt x="970" y="87"/>
                      </a:lnTo>
                      <a:lnTo>
                        <a:pt x="963" y="95"/>
                      </a:lnTo>
                      <a:lnTo>
                        <a:pt x="969" y="102"/>
                      </a:lnTo>
                      <a:lnTo>
                        <a:pt x="975" y="107"/>
                      </a:lnTo>
                      <a:lnTo>
                        <a:pt x="981" y="102"/>
                      </a:lnTo>
                      <a:lnTo>
                        <a:pt x="982" y="109"/>
                      </a:lnTo>
                      <a:lnTo>
                        <a:pt x="989" y="116"/>
                      </a:lnTo>
                      <a:lnTo>
                        <a:pt x="989" y="107"/>
                      </a:lnTo>
                      <a:lnTo>
                        <a:pt x="986" y="102"/>
                      </a:lnTo>
                      <a:lnTo>
                        <a:pt x="988" y="92"/>
                      </a:lnTo>
                      <a:lnTo>
                        <a:pt x="992" y="87"/>
                      </a:lnTo>
                      <a:lnTo>
                        <a:pt x="996" y="88"/>
                      </a:lnTo>
                      <a:lnTo>
                        <a:pt x="997" y="103"/>
                      </a:lnTo>
                      <a:lnTo>
                        <a:pt x="997" y="108"/>
                      </a:lnTo>
                      <a:lnTo>
                        <a:pt x="999" y="114"/>
                      </a:lnTo>
                      <a:lnTo>
                        <a:pt x="1006" y="124"/>
                      </a:lnTo>
                      <a:lnTo>
                        <a:pt x="1004" y="133"/>
                      </a:lnTo>
                      <a:lnTo>
                        <a:pt x="1001" y="144"/>
                      </a:lnTo>
                      <a:lnTo>
                        <a:pt x="997" y="156"/>
                      </a:lnTo>
                      <a:lnTo>
                        <a:pt x="992" y="158"/>
                      </a:lnTo>
                      <a:lnTo>
                        <a:pt x="991" y="149"/>
                      </a:lnTo>
                      <a:lnTo>
                        <a:pt x="994" y="141"/>
                      </a:lnTo>
                      <a:lnTo>
                        <a:pt x="995" y="133"/>
                      </a:lnTo>
                      <a:lnTo>
                        <a:pt x="993" y="127"/>
                      </a:lnTo>
                      <a:lnTo>
                        <a:pt x="988" y="123"/>
                      </a:lnTo>
                      <a:lnTo>
                        <a:pt x="981" y="118"/>
                      </a:lnTo>
                      <a:lnTo>
                        <a:pt x="975" y="112"/>
                      </a:lnTo>
                      <a:lnTo>
                        <a:pt x="969" y="110"/>
                      </a:lnTo>
                      <a:lnTo>
                        <a:pt x="962" y="112"/>
                      </a:lnTo>
                      <a:lnTo>
                        <a:pt x="958" y="110"/>
                      </a:lnTo>
                      <a:lnTo>
                        <a:pt x="958" y="104"/>
                      </a:lnTo>
                      <a:lnTo>
                        <a:pt x="956" y="95"/>
                      </a:lnTo>
                      <a:lnTo>
                        <a:pt x="962" y="85"/>
                      </a:lnTo>
                      <a:lnTo>
                        <a:pt x="965" y="77"/>
                      </a:lnTo>
                      <a:lnTo>
                        <a:pt x="966" y="72"/>
                      </a:lnTo>
                      <a:lnTo>
                        <a:pt x="958" y="72"/>
                      </a:lnTo>
                      <a:lnTo>
                        <a:pt x="956" y="77"/>
                      </a:lnTo>
                      <a:lnTo>
                        <a:pt x="952" y="84"/>
                      </a:lnTo>
                      <a:lnTo>
                        <a:pt x="946" y="85"/>
                      </a:lnTo>
                      <a:lnTo>
                        <a:pt x="939" y="88"/>
                      </a:lnTo>
                      <a:lnTo>
                        <a:pt x="937" y="95"/>
                      </a:lnTo>
                      <a:lnTo>
                        <a:pt x="939" y="100"/>
                      </a:lnTo>
                      <a:lnTo>
                        <a:pt x="942" y="106"/>
                      </a:lnTo>
                      <a:lnTo>
                        <a:pt x="948" y="106"/>
                      </a:lnTo>
                      <a:lnTo>
                        <a:pt x="952" y="110"/>
                      </a:lnTo>
                      <a:lnTo>
                        <a:pt x="952" y="114"/>
                      </a:lnTo>
                      <a:lnTo>
                        <a:pt x="952" y="123"/>
                      </a:lnTo>
                      <a:lnTo>
                        <a:pt x="947" y="133"/>
                      </a:lnTo>
                      <a:lnTo>
                        <a:pt x="944" y="141"/>
                      </a:lnTo>
                      <a:lnTo>
                        <a:pt x="939" y="139"/>
                      </a:lnTo>
                      <a:lnTo>
                        <a:pt x="932" y="137"/>
                      </a:lnTo>
                      <a:lnTo>
                        <a:pt x="935" y="133"/>
                      </a:lnTo>
                      <a:lnTo>
                        <a:pt x="942" y="127"/>
                      </a:lnTo>
                      <a:lnTo>
                        <a:pt x="940" y="121"/>
                      </a:lnTo>
                      <a:lnTo>
                        <a:pt x="936" y="125"/>
                      </a:lnTo>
                      <a:lnTo>
                        <a:pt x="930" y="125"/>
                      </a:lnTo>
                      <a:lnTo>
                        <a:pt x="931" y="120"/>
                      </a:lnTo>
                      <a:lnTo>
                        <a:pt x="932" y="115"/>
                      </a:lnTo>
                      <a:lnTo>
                        <a:pt x="930" y="110"/>
                      </a:lnTo>
                      <a:lnTo>
                        <a:pt x="925" y="110"/>
                      </a:lnTo>
                      <a:lnTo>
                        <a:pt x="919" y="110"/>
                      </a:lnTo>
                      <a:lnTo>
                        <a:pt x="915" y="107"/>
                      </a:lnTo>
                      <a:lnTo>
                        <a:pt x="915" y="102"/>
                      </a:lnTo>
                      <a:lnTo>
                        <a:pt x="916" y="96"/>
                      </a:lnTo>
                      <a:lnTo>
                        <a:pt x="911" y="94"/>
                      </a:lnTo>
                      <a:lnTo>
                        <a:pt x="907" y="90"/>
                      </a:lnTo>
                      <a:lnTo>
                        <a:pt x="901" y="88"/>
                      </a:lnTo>
                      <a:lnTo>
                        <a:pt x="893" y="95"/>
                      </a:lnTo>
                      <a:lnTo>
                        <a:pt x="891" y="100"/>
                      </a:lnTo>
                      <a:lnTo>
                        <a:pt x="892" y="111"/>
                      </a:lnTo>
                      <a:lnTo>
                        <a:pt x="890" y="117"/>
                      </a:lnTo>
                      <a:lnTo>
                        <a:pt x="885" y="119"/>
                      </a:lnTo>
                      <a:lnTo>
                        <a:pt x="876" y="121"/>
                      </a:lnTo>
                      <a:lnTo>
                        <a:pt x="874" y="125"/>
                      </a:lnTo>
                      <a:lnTo>
                        <a:pt x="870" y="125"/>
                      </a:lnTo>
                      <a:lnTo>
                        <a:pt x="865" y="126"/>
                      </a:lnTo>
                      <a:lnTo>
                        <a:pt x="862" y="132"/>
                      </a:lnTo>
                      <a:lnTo>
                        <a:pt x="861" y="140"/>
                      </a:lnTo>
                      <a:lnTo>
                        <a:pt x="857" y="143"/>
                      </a:lnTo>
                      <a:lnTo>
                        <a:pt x="847" y="145"/>
                      </a:lnTo>
                      <a:lnTo>
                        <a:pt x="848" y="135"/>
                      </a:lnTo>
                      <a:lnTo>
                        <a:pt x="857" y="129"/>
                      </a:lnTo>
                      <a:lnTo>
                        <a:pt x="856" y="125"/>
                      </a:lnTo>
                      <a:lnTo>
                        <a:pt x="853" y="123"/>
                      </a:lnTo>
                      <a:lnTo>
                        <a:pt x="849" y="125"/>
                      </a:lnTo>
                      <a:lnTo>
                        <a:pt x="840" y="129"/>
                      </a:lnTo>
                      <a:lnTo>
                        <a:pt x="833" y="131"/>
                      </a:lnTo>
                      <a:lnTo>
                        <a:pt x="826" y="129"/>
                      </a:lnTo>
                      <a:lnTo>
                        <a:pt x="816" y="126"/>
                      </a:lnTo>
                      <a:lnTo>
                        <a:pt x="808" y="128"/>
                      </a:lnTo>
                      <a:lnTo>
                        <a:pt x="805" y="131"/>
                      </a:lnTo>
                      <a:lnTo>
                        <a:pt x="803" y="137"/>
                      </a:lnTo>
                      <a:lnTo>
                        <a:pt x="801" y="146"/>
                      </a:lnTo>
                      <a:lnTo>
                        <a:pt x="795" y="152"/>
                      </a:lnTo>
                      <a:lnTo>
                        <a:pt x="801" y="158"/>
                      </a:lnTo>
                      <a:lnTo>
                        <a:pt x="804" y="164"/>
                      </a:lnTo>
                      <a:lnTo>
                        <a:pt x="795" y="167"/>
                      </a:lnTo>
                      <a:lnTo>
                        <a:pt x="798" y="172"/>
                      </a:lnTo>
                      <a:lnTo>
                        <a:pt x="802" y="177"/>
                      </a:lnTo>
                      <a:lnTo>
                        <a:pt x="799" y="181"/>
                      </a:lnTo>
                      <a:lnTo>
                        <a:pt x="795" y="177"/>
                      </a:lnTo>
                      <a:lnTo>
                        <a:pt x="789" y="177"/>
                      </a:lnTo>
                      <a:lnTo>
                        <a:pt x="786" y="185"/>
                      </a:lnTo>
                      <a:lnTo>
                        <a:pt x="781" y="191"/>
                      </a:lnTo>
                      <a:lnTo>
                        <a:pt x="773" y="190"/>
                      </a:lnTo>
                      <a:lnTo>
                        <a:pt x="770" y="196"/>
                      </a:lnTo>
                      <a:lnTo>
                        <a:pt x="770" y="206"/>
                      </a:lnTo>
                      <a:lnTo>
                        <a:pt x="766" y="210"/>
                      </a:lnTo>
                      <a:lnTo>
                        <a:pt x="757" y="212"/>
                      </a:lnTo>
                      <a:lnTo>
                        <a:pt x="756" y="216"/>
                      </a:lnTo>
                      <a:lnTo>
                        <a:pt x="763" y="228"/>
                      </a:lnTo>
                      <a:lnTo>
                        <a:pt x="765" y="237"/>
                      </a:lnTo>
                      <a:lnTo>
                        <a:pt x="776" y="237"/>
                      </a:lnTo>
                      <a:lnTo>
                        <a:pt x="779" y="242"/>
                      </a:lnTo>
                      <a:lnTo>
                        <a:pt x="774" y="245"/>
                      </a:lnTo>
                      <a:lnTo>
                        <a:pt x="767" y="250"/>
                      </a:lnTo>
                      <a:lnTo>
                        <a:pt x="757" y="248"/>
                      </a:lnTo>
                      <a:lnTo>
                        <a:pt x="755" y="255"/>
                      </a:lnTo>
                      <a:lnTo>
                        <a:pt x="753" y="263"/>
                      </a:lnTo>
                      <a:lnTo>
                        <a:pt x="762" y="269"/>
                      </a:lnTo>
                      <a:lnTo>
                        <a:pt x="770" y="274"/>
                      </a:lnTo>
                      <a:lnTo>
                        <a:pt x="777" y="277"/>
                      </a:lnTo>
                      <a:lnTo>
                        <a:pt x="781" y="270"/>
                      </a:lnTo>
                      <a:lnTo>
                        <a:pt x="789" y="269"/>
                      </a:lnTo>
                      <a:lnTo>
                        <a:pt x="795" y="275"/>
                      </a:lnTo>
                      <a:lnTo>
                        <a:pt x="799" y="281"/>
                      </a:lnTo>
                      <a:lnTo>
                        <a:pt x="795" y="284"/>
                      </a:lnTo>
                      <a:lnTo>
                        <a:pt x="788" y="282"/>
                      </a:lnTo>
                      <a:lnTo>
                        <a:pt x="777" y="282"/>
                      </a:lnTo>
                      <a:lnTo>
                        <a:pt x="776" y="289"/>
                      </a:lnTo>
                      <a:lnTo>
                        <a:pt x="784" y="296"/>
                      </a:lnTo>
                      <a:lnTo>
                        <a:pt x="793" y="299"/>
                      </a:lnTo>
                      <a:lnTo>
                        <a:pt x="786" y="302"/>
                      </a:lnTo>
                      <a:lnTo>
                        <a:pt x="776" y="301"/>
                      </a:lnTo>
                      <a:lnTo>
                        <a:pt x="766" y="298"/>
                      </a:lnTo>
                      <a:lnTo>
                        <a:pt x="753" y="301"/>
                      </a:lnTo>
                      <a:lnTo>
                        <a:pt x="747" y="298"/>
                      </a:lnTo>
                      <a:lnTo>
                        <a:pt x="737" y="302"/>
                      </a:lnTo>
                      <a:lnTo>
                        <a:pt x="731" y="306"/>
                      </a:lnTo>
                      <a:lnTo>
                        <a:pt x="722" y="304"/>
                      </a:lnTo>
                      <a:lnTo>
                        <a:pt x="722" y="310"/>
                      </a:lnTo>
                      <a:lnTo>
                        <a:pt x="730" y="312"/>
                      </a:lnTo>
                      <a:lnTo>
                        <a:pt x="737" y="317"/>
                      </a:lnTo>
                      <a:lnTo>
                        <a:pt x="745" y="326"/>
                      </a:lnTo>
                      <a:lnTo>
                        <a:pt x="756" y="331"/>
                      </a:lnTo>
                      <a:lnTo>
                        <a:pt x="768" y="339"/>
                      </a:lnTo>
                      <a:lnTo>
                        <a:pt x="770" y="347"/>
                      </a:lnTo>
                      <a:lnTo>
                        <a:pt x="761" y="346"/>
                      </a:lnTo>
                      <a:lnTo>
                        <a:pt x="755" y="341"/>
                      </a:lnTo>
                      <a:lnTo>
                        <a:pt x="749" y="335"/>
                      </a:lnTo>
                      <a:lnTo>
                        <a:pt x="743" y="334"/>
                      </a:lnTo>
                      <a:lnTo>
                        <a:pt x="734" y="333"/>
                      </a:lnTo>
                      <a:lnTo>
                        <a:pt x="725" y="333"/>
                      </a:lnTo>
                      <a:lnTo>
                        <a:pt x="730" y="339"/>
                      </a:lnTo>
                      <a:lnTo>
                        <a:pt x="741" y="340"/>
                      </a:lnTo>
                      <a:lnTo>
                        <a:pt x="749" y="346"/>
                      </a:lnTo>
                      <a:lnTo>
                        <a:pt x="752" y="352"/>
                      </a:lnTo>
                      <a:lnTo>
                        <a:pt x="745" y="350"/>
                      </a:lnTo>
                      <a:lnTo>
                        <a:pt x="735" y="349"/>
                      </a:lnTo>
                      <a:lnTo>
                        <a:pt x="731" y="343"/>
                      </a:lnTo>
                      <a:lnTo>
                        <a:pt x="722" y="342"/>
                      </a:lnTo>
                      <a:lnTo>
                        <a:pt x="713" y="342"/>
                      </a:lnTo>
                      <a:lnTo>
                        <a:pt x="705" y="339"/>
                      </a:lnTo>
                      <a:lnTo>
                        <a:pt x="694" y="340"/>
                      </a:lnTo>
                      <a:lnTo>
                        <a:pt x="686" y="340"/>
                      </a:lnTo>
                      <a:lnTo>
                        <a:pt x="679" y="344"/>
                      </a:lnTo>
                      <a:lnTo>
                        <a:pt x="672" y="354"/>
                      </a:lnTo>
                      <a:lnTo>
                        <a:pt x="663" y="357"/>
                      </a:lnTo>
                      <a:lnTo>
                        <a:pt x="658" y="359"/>
                      </a:lnTo>
                      <a:lnTo>
                        <a:pt x="655" y="371"/>
                      </a:lnTo>
                      <a:lnTo>
                        <a:pt x="648" y="375"/>
                      </a:lnTo>
                      <a:lnTo>
                        <a:pt x="639" y="375"/>
                      </a:lnTo>
                      <a:lnTo>
                        <a:pt x="639" y="379"/>
                      </a:lnTo>
                      <a:lnTo>
                        <a:pt x="639" y="385"/>
                      </a:lnTo>
                      <a:lnTo>
                        <a:pt x="643" y="389"/>
                      </a:lnTo>
                      <a:lnTo>
                        <a:pt x="639" y="395"/>
                      </a:lnTo>
                      <a:lnTo>
                        <a:pt x="645" y="403"/>
                      </a:lnTo>
                      <a:lnTo>
                        <a:pt x="651" y="408"/>
                      </a:lnTo>
                      <a:lnTo>
                        <a:pt x="660" y="412"/>
                      </a:lnTo>
                      <a:lnTo>
                        <a:pt x="670" y="417"/>
                      </a:lnTo>
                      <a:lnTo>
                        <a:pt x="676" y="418"/>
                      </a:lnTo>
                      <a:lnTo>
                        <a:pt x="679" y="423"/>
                      </a:lnTo>
                      <a:lnTo>
                        <a:pt x="685" y="425"/>
                      </a:lnTo>
                      <a:lnTo>
                        <a:pt x="699" y="425"/>
                      </a:lnTo>
                      <a:lnTo>
                        <a:pt x="713" y="427"/>
                      </a:lnTo>
                      <a:lnTo>
                        <a:pt x="735" y="425"/>
                      </a:lnTo>
                      <a:lnTo>
                        <a:pt x="741" y="421"/>
                      </a:lnTo>
                      <a:lnTo>
                        <a:pt x="742" y="428"/>
                      </a:lnTo>
                      <a:lnTo>
                        <a:pt x="749" y="433"/>
                      </a:lnTo>
                      <a:lnTo>
                        <a:pt x="755" y="427"/>
                      </a:lnTo>
                      <a:lnTo>
                        <a:pt x="767" y="425"/>
                      </a:lnTo>
                      <a:lnTo>
                        <a:pt x="774" y="425"/>
                      </a:lnTo>
                      <a:lnTo>
                        <a:pt x="771" y="433"/>
                      </a:lnTo>
                      <a:lnTo>
                        <a:pt x="762" y="436"/>
                      </a:lnTo>
                      <a:lnTo>
                        <a:pt x="753" y="443"/>
                      </a:lnTo>
                      <a:lnTo>
                        <a:pt x="749" y="449"/>
                      </a:lnTo>
                      <a:lnTo>
                        <a:pt x="749" y="454"/>
                      </a:lnTo>
                      <a:lnTo>
                        <a:pt x="753" y="453"/>
                      </a:lnTo>
                      <a:lnTo>
                        <a:pt x="759" y="449"/>
                      </a:lnTo>
                      <a:lnTo>
                        <a:pt x="766" y="443"/>
                      </a:lnTo>
                      <a:lnTo>
                        <a:pt x="776" y="441"/>
                      </a:lnTo>
                      <a:lnTo>
                        <a:pt x="780" y="435"/>
                      </a:lnTo>
                      <a:lnTo>
                        <a:pt x="784" y="429"/>
                      </a:lnTo>
                      <a:lnTo>
                        <a:pt x="791" y="420"/>
                      </a:lnTo>
                      <a:lnTo>
                        <a:pt x="799" y="414"/>
                      </a:lnTo>
                      <a:lnTo>
                        <a:pt x="806" y="414"/>
                      </a:lnTo>
                      <a:lnTo>
                        <a:pt x="805" y="425"/>
                      </a:lnTo>
                      <a:lnTo>
                        <a:pt x="802" y="433"/>
                      </a:lnTo>
                      <a:lnTo>
                        <a:pt x="813" y="435"/>
                      </a:lnTo>
                      <a:lnTo>
                        <a:pt x="820" y="430"/>
                      </a:lnTo>
                      <a:lnTo>
                        <a:pt x="832" y="422"/>
                      </a:lnTo>
                      <a:lnTo>
                        <a:pt x="842" y="417"/>
                      </a:lnTo>
                      <a:lnTo>
                        <a:pt x="851" y="414"/>
                      </a:lnTo>
                      <a:lnTo>
                        <a:pt x="857" y="412"/>
                      </a:lnTo>
                      <a:lnTo>
                        <a:pt x="861" y="421"/>
                      </a:lnTo>
                      <a:lnTo>
                        <a:pt x="863" y="429"/>
                      </a:lnTo>
                      <a:lnTo>
                        <a:pt x="854" y="431"/>
                      </a:lnTo>
                      <a:lnTo>
                        <a:pt x="848" y="429"/>
                      </a:lnTo>
                      <a:lnTo>
                        <a:pt x="844" y="441"/>
                      </a:lnTo>
                      <a:lnTo>
                        <a:pt x="837" y="448"/>
                      </a:lnTo>
                      <a:lnTo>
                        <a:pt x="832" y="453"/>
                      </a:lnTo>
                      <a:lnTo>
                        <a:pt x="830" y="462"/>
                      </a:lnTo>
                      <a:lnTo>
                        <a:pt x="826" y="471"/>
                      </a:lnTo>
                      <a:lnTo>
                        <a:pt x="818" y="476"/>
                      </a:lnTo>
                      <a:lnTo>
                        <a:pt x="816" y="487"/>
                      </a:lnTo>
                      <a:lnTo>
                        <a:pt x="808" y="495"/>
                      </a:lnTo>
                      <a:lnTo>
                        <a:pt x="803" y="503"/>
                      </a:lnTo>
                      <a:lnTo>
                        <a:pt x="801" y="506"/>
                      </a:lnTo>
                      <a:lnTo>
                        <a:pt x="791" y="507"/>
                      </a:lnTo>
                      <a:lnTo>
                        <a:pt x="784" y="509"/>
                      </a:lnTo>
                      <a:lnTo>
                        <a:pt x="777" y="510"/>
                      </a:lnTo>
                      <a:lnTo>
                        <a:pt x="772" y="511"/>
                      </a:lnTo>
                      <a:lnTo>
                        <a:pt x="768" y="512"/>
                      </a:lnTo>
                      <a:lnTo>
                        <a:pt x="758" y="515"/>
                      </a:lnTo>
                      <a:lnTo>
                        <a:pt x="757" y="511"/>
                      </a:lnTo>
                      <a:lnTo>
                        <a:pt x="750" y="509"/>
                      </a:lnTo>
                      <a:lnTo>
                        <a:pt x="744" y="514"/>
                      </a:lnTo>
                      <a:lnTo>
                        <a:pt x="743" y="521"/>
                      </a:lnTo>
                      <a:lnTo>
                        <a:pt x="744" y="528"/>
                      </a:lnTo>
                      <a:lnTo>
                        <a:pt x="737" y="538"/>
                      </a:lnTo>
                      <a:lnTo>
                        <a:pt x="727" y="543"/>
                      </a:lnTo>
                      <a:lnTo>
                        <a:pt x="716" y="547"/>
                      </a:lnTo>
                      <a:lnTo>
                        <a:pt x="711" y="553"/>
                      </a:lnTo>
                      <a:lnTo>
                        <a:pt x="702" y="556"/>
                      </a:lnTo>
                      <a:lnTo>
                        <a:pt x="699" y="563"/>
                      </a:lnTo>
                      <a:lnTo>
                        <a:pt x="687" y="564"/>
                      </a:lnTo>
                      <a:lnTo>
                        <a:pt x="679" y="568"/>
                      </a:lnTo>
                      <a:lnTo>
                        <a:pt x="684" y="577"/>
                      </a:lnTo>
                      <a:lnTo>
                        <a:pt x="687" y="584"/>
                      </a:lnTo>
                      <a:lnTo>
                        <a:pt x="692" y="591"/>
                      </a:lnTo>
                      <a:lnTo>
                        <a:pt x="696" y="588"/>
                      </a:lnTo>
                      <a:lnTo>
                        <a:pt x="710" y="582"/>
                      </a:lnTo>
                      <a:lnTo>
                        <a:pt x="718" y="583"/>
                      </a:lnTo>
                      <a:lnTo>
                        <a:pt x="726" y="583"/>
                      </a:lnTo>
                      <a:lnTo>
                        <a:pt x="733" y="585"/>
                      </a:lnTo>
                      <a:lnTo>
                        <a:pt x="735" y="592"/>
                      </a:lnTo>
                      <a:lnTo>
                        <a:pt x="732" y="595"/>
                      </a:lnTo>
                      <a:lnTo>
                        <a:pt x="722" y="591"/>
                      </a:lnTo>
                      <a:lnTo>
                        <a:pt x="715" y="590"/>
                      </a:lnTo>
                      <a:lnTo>
                        <a:pt x="716" y="600"/>
                      </a:lnTo>
                      <a:lnTo>
                        <a:pt x="724" y="605"/>
                      </a:lnTo>
                      <a:lnTo>
                        <a:pt x="734" y="607"/>
                      </a:lnTo>
                      <a:lnTo>
                        <a:pt x="742" y="611"/>
                      </a:lnTo>
                      <a:lnTo>
                        <a:pt x="737" y="614"/>
                      </a:lnTo>
                      <a:lnTo>
                        <a:pt x="731" y="614"/>
                      </a:lnTo>
                      <a:lnTo>
                        <a:pt x="718" y="612"/>
                      </a:lnTo>
                      <a:lnTo>
                        <a:pt x="708" y="612"/>
                      </a:lnTo>
                      <a:lnTo>
                        <a:pt x="702" y="618"/>
                      </a:lnTo>
                      <a:lnTo>
                        <a:pt x="699" y="624"/>
                      </a:lnTo>
                      <a:lnTo>
                        <a:pt x="707" y="629"/>
                      </a:lnTo>
                      <a:lnTo>
                        <a:pt x="713" y="631"/>
                      </a:lnTo>
                      <a:lnTo>
                        <a:pt x="714" y="636"/>
                      </a:lnTo>
                      <a:lnTo>
                        <a:pt x="723" y="643"/>
                      </a:lnTo>
                      <a:lnTo>
                        <a:pt x="734" y="646"/>
                      </a:lnTo>
                      <a:lnTo>
                        <a:pt x="730" y="652"/>
                      </a:lnTo>
                      <a:lnTo>
                        <a:pt x="726" y="649"/>
                      </a:lnTo>
                      <a:lnTo>
                        <a:pt x="719" y="651"/>
                      </a:lnTo>
                      <a:lnTo>
                        <a:pt x="713" y="656"/>
                      </a:lnTo>
                      <a:lnTo>
                        <a:pt x="709" y="650"/>
                      </a:lnTo>
                      <a:lnTo>
                        <a:pt x="699" y="645"/>
                      </a:lnTo>
                      <a:lnTo>
                        <a:pt x="689" y="641"/>
                      </a:lnTo>
                      <a:lnTo>
                        <a:pt x="689" y="633"/>
                      </a:lnTo>
                      <a:lnTo>
                        <a:pt x="685" y="623"/>
                      </a:lnTo>
                      <a:lnTo>
                        <a:pt x="681" y="618"/>
                      </a:lnTo>
                      <a:lnTo>
                        <a:pt x="669" y="620"/>
                      </a:lnTo>
                      <a:lnTo>
                        <a:pt x="664" y="622"/>
                      </a:lnTo>
                      <a:lnTo>
                        <a:pt x="658" y="624"/>
                      </a:lnTo>
                      <a:lnTo>
                        <a:pt x="654" y="617"/>
                      </a:lnTo>
                      <a:lnTo>
                        <a:pt x="645" y="617"/>
                      </a:lnTo>
                      <a:lnTo>
                        <a:pt x="638" y="620"/>
                      </a:lnTo>
                      <a:lnTo>
                        <a:pt x="629" y="626"/>
                      </a:lnTo>
                      <a:lnTo>
                        <a:pt x="620" y="625"/>
                      </a:lnTo>
                      <a:lnTo>
                        <a:pt x="611" y="618"/>
                      </a:lnTo>
                      <a:lnTo>
                        <a:pt x="600" y="610"/>
                      </a:lnTo>
                      <a:lnTo>
                        <a:pt x="580" y="606"/>
                      </a:lnTo>
                      <a:lnTo>
                        <a:pt x="563" y="606"/>
                      </a:lnTo>
                      <a:lnTo>
                        <a:pt x="556" y="609"/>
                      </a:lnTo>
                      <a:lnTo>
                        <a:pt x="552" y="619"/>
                      </a:lnTo>
                      <a:lnTo>
                        <a:pt x="550" y="631"/>
                      </a:lnTo>
                      <a:lnTo>
                        <a:pt x="538" y="645"/>
                      </a:lnTo>
                      <a:lnTo>
                        <a:pt x="540" y="655"/>
                      </a:lnTo>
                      <a:lnTo>
                        <a:pt x="532" y="672"/>
                      </a:lnTo>
                      <a:lnTo>
                        <a:pt x="526" y="681"/>
                      </a:lnTo>
                      <a:lnTo>
                        <a:pt x="525" y="677"/>
                      </a:lnTo>
                      <a:lnTo>
                        <a:pt x="525" y="675"/>
                      </a:lnTo>
                      <a:lnTo>
                        <a:pt x="523" y="668"/>
                      </a:lnTo>
                      <a:lnTo>
                        <a:pt x="515" y="656"/>
                      </a:lnTo>
                      <a:lnTo>
                        <a:pt x="504" y="647"/>
                      </a:lnTo>
                      <a:lnTo>
                        <a:pt x="510" y="637"/>
                      </a:lnTo>
                      <a:lnTo>
                        <a:pt x="504" y="633"/>
                      </a:lnTo>
                      <a:lnTo>
                        <a:pt x="506" y="622"/>
                      </a:lnTo>
                      <a:lnTo>
                        <a:pt x="504" y="609"/>
                      </a:lnTo>
                      <a:lnTo>
                        <a:pt x="496" y="612"/>
                      </a:lnTo>
                      <a:lnTo>
                        <a:pt x="490" y="612"/>
                      </a:lnTo>
                      <a:lnTo>
                        <a:pt x="490" y="604"/>
                      </a:lnTo>
                      <a:lnTo>
                        <a:pt x="483" y="598"/>
                      </a:lnTo>
                      <a:lnTo>
                        <a:pt x="474" y="593"/>
                      </a:lnTo>
                      <a:lnTo>
                        <a:pt x="464" y="588"/>
                      </a:lnTo>
                      <a:lnTo>
                        <a:pt x="455" y="592"/>
                      </a:lnTo>
                      <a:lnTo>
                        <a:pt x="448" y="600"/>
                      </a:lnTo>
                      <a:lnTo>
                        <a:pt x="442" y="595"/>
                      </a:lnTo>
                      <a:lnTo>
                        <a:pt x="436" y="592"/>
                      </a:lnTo>
                      <a:lnTo>
                        <a:pt x="421" y="591"/>
                      </a:lnTo>
                      <a:lnTo>
                        <a:pt x="413" y="587"/>
                      </a:lnTo>
                      <a:lnTo>
                        <a:pt x="403" y="588"/>
                      </a:lnTo>
                      <a:lnTo>
                        <a:pt x="393" y="587"/>
                      </a:lnTo>
                      <a:lnTo>
                        <a:pt x="365" y="586"/>
                      </a:lnTo>
                      <a:lnTo>
                        <a:pt x="359" y="587"/>
                      </a:lnTo>
                      <a:lnTo>
                        <a:pt x="347" y="585"/>
                      </a:lnTo>
                      <a:lnTo>
                        <a:pt x="336" y="581"/>
                      </a:lnTo>
                      <a:lnTo>
                        <a:pt x="324" y="576"/>
                      </a:lnTo>
                      <a:lnTo>
                        <a:pt x="317" y="575"/>
                      </a:lnTo>
                      <a:lnTo>
                        <a:pt x="302" y="577"/>
                      </a:lnTo>
                      <a:lnTo>
                        <a:pt x="294" y="582"/>
                      </a:lnTo>
                      <a:lnTo>
                        <a:pt x="290" y="592"/>
                      </a:lnTo>
                      <a:lnTo>
                        <a:pt x="301" y="600"/>
                      </a:lnTo>
                      <a:lnTo>
                        <a:pt x="308" y="600"/>
                      </a:lnTo>
                      <a:lnTo>
                        <a:pt x="313" y="600"/>
                      </a:lnTo>
                      <a:lnTo>
                        <a:pt x="313" y="606"/>
                      </a:lnTo>
                      <a:lnTo>
                        <a:pt x="323" y="611"/>
                      </a:lnTo>
                      <a:lnTo>
                        <a:pt x="324" y="618"/>
                      </a:lnTo>
                      <a:lnTo>
                        <a:pt x="316" y="618"/>
                      </a:lnTo>
                      <a:lnTo>
                        <a:pt x="310" y="612"/>
                      </a:lnTo>
                      <a:lnTo>
                        <a:pt x="304" y="610"/>
                      </a:lnTo>
                      <a:lnTo>
                        <a:pt x="297" y="609"/>
                      </a:lnTo>
                      <a:lnTo>
                        <a:pt x="293" y="611"/>
                      </a:lnTo>
                      <a:lnTo>
                        <a:pt x="289" y="618"/>
                      </a:lnTo>
                      <a:lnTo>
                        <a:pt x="287" y="628"/>
                      </a:lnTo>
                      <a:lnTo>
                        <a:pt x="284" y="636"/>
                      </a:lnTo>
                      <a:lnTo>
                        <a:pt x="281" y="642"/>
                      </a:lnTo>
                      <a:lnTo>
                        <a:pt x="276" y="643"/>
                      </a:lnTo>
                      <a:lnTo>
                        <a:pt x="268" y="643"/>
                      </a:lnTo>
                      <a:lnTo>
                        <a:pt x="259" y="640"/>
                      </a:lnTo>
                      <a:lnTo>
                        <a:pt x="254" y="640"/>
                      </a:lnTo>
                      <a:lnTo>
                        <a:pt x="251" y="631"/>
                      </a:lnTo>
                      <a:lnTo>
                        <a:pt x="255" y="628"/>
                      </a:lnTo>
                      <a:lnTo>
                        <a:pt x="260" y="631"/>
                      </a:lnTo>
                      <a:lnTo>
                        <a:pt x="264" y="635"/>
                      </a:lnTo>
                      <a:lnTo>
                        <a:pt x="272" y="635"/>
                      </a:lnTo>
                      <a:lnTo>
                        <a:pt x="280" y="629"/>
                      </a:lnTo>
                      <a:lnTo>
                        <a:pt x="280" y="621"/>
                      </a:lnTo>
                      <a:lnTo>
                        <a:pt x="274" y="614"/>
                      </a:lnTo>
                      <a:lnTo>
                        <a:pt x="266" y="613"/>
                      </a:lnTo>
                      <a:lnTo>
                        <a:pt x="261" y="611"/>
                      </a:lnTo>
                      <a:lnTo>
                        <a:pt x="256" y="608"/>
                      </a:lnTo>
                      <a:lnTo>
                        <a:pt x="253" y="600"/>
                      </a:lnTo>
                      <a:lnTo>
                        <a:pt x="249" y="594"/>
                      </a:lnTo>
                      <a:lnTo>
                        <a:pt x="245" y="594"/>
                      </a:lnTo>
                      <a:lnTo>
                        <a:pt x="241" y="597"/>
                      </a:lnTo>
                      <a:lnTo>
                        <a:pt x="236" y="606"/>
                      </a:lnTo>
                      <a:lnTo>
                        <a:pt x="230" y="608"/>
                      </a:lnTo>
                      <a:lnTo>
                        <a:pt x="225" y="611"/>
                      </a:lnTo>
                      <a:lnTo>
                        <a:pt x="218" y="616"/>
                      </a:lnTo>
                      <a:lnTo>
                        <a:pt x="217" y="625"/>
                      </a:lnTo>
                      <a:lnTo>
                        <a:pt x="214" y="630"/>
                      </a:lnTo>
                      <a:lnTo>
                        <a:pt x="214" y="635"/>
                      </a:lnTo>
                      <a:lnTo>
                        <a:pt x="221" y="635"/>
                      </a:lnTo>
                      <a:lnTo>
                        <a:pt x="224" y="640"/>
                      </a:lnTo>
                      <a:lnTo>
                        <a:pt x="224" y="645"/>
                      </a:lnTo>
                      <a:lnTo>
                        <a:pt x="218" y="645"/>
                      </a:lnTo>
                      <a:lnTo>
                        <a:pt x="218" y="652"/>
                      </a:lnTo>
                      <a:lnTo>
                        <a:pt x="213" y="673"/>
                      </a:lnTo>
                      <a:lnTo>
                        <a:pt x="206" y="686"/>
                      </a:lnTo>
                      <a:lnTo>
                        <a:pt x="205" y="699"/>
                      </a:lnTo>
                      <a:lnTo>
                        <a:pt x="209" y="708"/>
                      </a:lnTo>
                      <a:lnTo>
                        <a:pt x="214" y="713"/>
                      </a:lnTo>
                      <a:lnTo>
                        <a:pt x="224" y="709"/>
                      </a:lnTo>
                      <a:lnTo>
                        <a:pt x="223" y="701"/>
                      </a:lnTo>
                      <a:lnTo>
                        <a:pt x="218" y="698"/>
                      </a:lnTo>
                      <a:lnTo>
                        <a:pt x="216" y="691"/>
                      </a:lnTo>
                      <a:lnTo>
                        <a:pt x="220" y="689"/>
                      </a:lnTo>
                      <a:lnTo>
                        <a:pt x="223" y="686"/>
                      </a:lnTo>
                      <a:lnTo>
                        <a:pt x="223" y="681"/>
                      </a:lnTo>
                      <a:lnTo>
                        <a:pt x="218" y="674"/>
                      </a:lnTo>
                      <a:lnTo>
                        <a:pt x="224" y="671"/>
                      </a:lnTo>
                      <a:lnTo>
                        <a:pt x="232" y="669"/>
                      </a:lnTo>
                      <a:lnTo>
                        <a:pt x="230" y="664"/>
                      </a:lnTo>
                      <a:lnTo>
                        <a:pt x="231" y="657"/>
                      </a:lnTo>
                      <a:lnTo>
                        <a:pt x="235" y="658"/>
                      </a:lnTo>
                      <a:lnTo>
                        <a:pt x="241" y="660"/>
                      </a:lnTo>
                      <a:lnTo>
                        <a:pt x="243" y="656"/>
                      </a:lnTo>
                      <a:lnTo>
                        <a:pt x="243" y="650"/>
                      </a:lnTo>
                      <a:lnTo>
                        <a:pt x="239" y="645"/>
                      </a:lnTo>
                      <a:lnTo>
                        <a:pt x="243" y="638"/>
                      </a:lnTo>
                      <a:lnTo>
                        <a:pt x="249" y="642"/>
                      </a:lnTo>
                      <a:lnTo>
                        <a:pt x="253" y="648"/>
                      </a:lnTo>
                      <a:lnTo>
                        <a:pt x="259" y="654"/>
                      </a:lnTo>
                      <a:lnTo>
                        <a:pt x="264" y="656"/>
                      </a:lnTo>
                      <a:lnTo>
                        <a:pt x="264" y="660"/>
                      </a:lnTo>
                      <a:lnTo>
                        <a:pt x="261" y="663"/>
                      </a:lnTo>
                      <a:lnTo>
                        <a:pt x="256" y="665"/>
                      </a:lnTo>
                      <a:lnTo>
                        <a:pt x="262" y="670"/>
                      </a:lnTo>
                      <a:lnTo>
                        <a:pt x="267" y="677"/>
                      </a:lnTo>
                      <a:lnTo>
                        <a:pt x="259" y="676"/>
                      </a:lnTo>
                      <a:lnTo>
                        <a:pt x="257" y="681"/>
                      </a:lnTo>
                      <a:lnTo>
                        <a:pt x="266" y="690"/>
                      </a:lnTo>
                      <a:lnTo>
                        <a:pt x="274" y="691"/>
                      </a:lnTo>
                      <a:lnTo>
                        <a:pt x="274" y="695"/>
                      </a:lnTo>
                      <a:lnTo>
                        <a:pt x="266" y="697"/>
                      </a:lnTo>
                      <a:lnTo>
                        <a:pt x="255" y="701"/>
                      </a:lnTo>
                      <a:lnTo>
                        <a:pt x="249" y="706"/>
                      </a:lnTo>
                      <a:lnTo>
                        <a:pt x="255" y="716"/>
                      </a:lnTo>
                      <a:lnTo>
                        <a:pt x="257" y="726"/>
                      </a:lnTo>
                      <a:lnTo>
                        <a:pt x="265" y="727"/>
                      </a:lnTo>
                      <a:lnTo>
                        <a:pt x="277" y="722"/>
                      </a:lnTo>
                      <a:lnTo>
                        <a:pt x="277" y="712"/>
                      </a:lnTo>
                      <a:lnTo>
                        <a:pt x="282" y="706"/>
                      </a:lnTo>
                      <a:lnTo>
                        <a:pt x="286" y="699"/>
                      </a:lnTo>
                      <a:lnTo>
                        <a:pt x="297" y="698"/>
                      </a:lnTo>
                      <a:lnTo>
                        <a:pt x="300" y="701"/>
                      </a:lnTo>
                      <a:lnTo>
                        <a:pt x="295" y="706"/>
                      </a:lnTo>
                      <a:lnTo>
                        <a:pt x="289" y="715"/>
                      </a:lnTo>
                      <a:lnTo>
                        <a:pt x="286" y="720"/>
                      </a:lnTo>
                      <a:lnTo>
                        <a:pt x="289" y="724"/>
                      </a:lnTo>
                      <a:lnTo>
                        <a:pt x="286" y="730"/>
                      </a:lnTo>
                      <a:lnTo>
                        <a:pt x="280" y="731"/>
                      </a:lnTo>
                      <a:lnTo>
                        <a:pt x="276" y="739"/>
                      </a:lnTo>
                      <a:lnTo>
                        <a:pt x="274" y="746"/>
                      </a:lnTo>
                      <a:lnTo>
                        <a:pt x="281" y="757"/>
                      </a:lnTo>
                      <a:lnTo>
                        <a:pt x="288" y="759"/>
                      </a:lnTo>
                      <a:lnTo>
                        <a:pt x="294" y="765"/>
                      </a:lnTo>
                      <a:lnTo>
                        <a:pt x="296" y="776"/>
                      </a:lnTo>
                      <a:lnTo>
                        <a:pt x="295" y="783"/>
                      </a:lnTo>
                      <a:lnTo>
                        <a:pt x="302" y="787"/>
                      </a:lnTo>
                      <a:lnTo>
                        <a:pt x="303" y="781"/>
                      </a:lnTo>
                      <a:lnTo>
                        <a:pt x="311" y="788"/>
                      </a:lnTo>
                      <a:lnTo>
                        <a:pt x="312" y="799"/>
                      </a:lnTo>
                      <a:lnTo>
                        <a:pt x="311" y="810"/>
                      </a:lnTo>
                      <a:lnTo>
                        <a:pt x="306" y="810"/>
                      </a:lnTo>
                      <a:lnTo>
                        <a:pt x="304" y="804"/>
                      </a:lnTo>
                      <a:lnTo>
                        <a:pt x="305" y="797"/>
                      </a:lnTo>
                      <a:lnTo>
                        <a:pt x="300" y="794"/>
                      </a:lnTo>
                      <a:lnTo>
                        <a:pt x="291" y="787"/>
                      </a:lnTo>
                      <a:lnTo>
                        <a:pt x="281" y="786"/>
                      </a:lnTo>
                      <a:lnTo>
                        <a:pt x="274" y="786"/>
                      </a:lnTo>
                      <a:lnTo>
                        <a:pt x="272" y="791"/>
                      </a:lnTo>
                      <a:lnTo>
                        <a:pt x="270" y="800"/>
                      </a:lnTo>
                      <a:lnTo>
                        <a:pt x="273" y="807"/>
                      </a:lnTo>
                      <a:lnTo>
                        <a:pt x="267" y="813"/>
                      </a:lnTo>
                      <a:lnTo>
                        <a:pt x="266" y="818"/>
                      </a:lnTo>
                      <a:lnTo>
                        <a:pt x="264" y="826"/>
                      </a:lnTo>
                      <a:lnTo>
                        <a:pt x="262" y="833"/>
                      </a:lnTo>
                      <a:lnTo>
                        <a:pt x="266" y="837"/>
                      </a:lnTo>
                      <a:lnTo>
                        <a:pt x="272" y="841"/>
                      </a:lnTo>
                      <a:lnTo>
                        <a:pt x="278" y="840"/>
                      </a:lnTo>
                      <a:lnTo>
                        <a:pt x="286" y="836"/>
                      </a:lnTo>
                      <a:lnTo>
                        <a:pt x="297" y="835"/>
                      </a:lnTo>
                      <a:lnTo>
                        <a:pt x="306" y="833"/>
                      </a:lnTo>
                      <a:lnTo>
                        <a:pt x="311" y="826"/>
                      </a:lnTo>
                      <a:lnTo>
                        <a:pt x="318" y="820"/>
                      </a:lnTo>
                      <a:lnTo>
                        <a:pt x="325" y="822"/>
                      </a:lnTo>
                      <a:lnTo>
                        <a:pt x="330" y="818"/>
                      </a:lnTo>
                      <a:lnTo>
                        <a:pt x="339" y="818"/>
                      </a:lnTo>
                      <a:lnTo>
                        <a:pt x="348" y="820"/>
                      </a:lnTo>
                      <a:lnTo>
                        <a:pt x="359" y="821"/>
                      </a:lnTo>
                      <a:lnTo>
                        <a:pt x="368" y="824"/>
                      </a:lnTo>
                      <a:lnTo>
                        <a:pt x="380" y="823"/>
                      </a:lnTo>
                      <a:lnTo>
                        <a:pt x="382" y="827"/>
                      </a:lnTo>
                      <a:lnTo>
                        <a:pt x="378" y="835"/>
                      </a:lnTo>
                      <a:lnTo>
                        <a:pt x="380" y="836"/>
                      </a:lnTo>
                      <a:lnTo>
                        <a:pt x="382" y="838"/>
                      </a:lnTo>
                      <a:lnTo>
                        <a:pt x="382" y="845"/>
                      </a:lnTo>
                      <a:lnTo>
                        <a:pt x="373" y="851"/>
                      </a:lnTo>
                      <a:lnTo>
                        <a:pt x="370" y="854"/>
                      </a:lnTo>
                      <a:lnTo>
                        <a:pt x="372" y="859"/>
                      </a:lnTo>
                      <a:lnTo>
                        <a:pt x="367" y="862"/>
                      </a:lnTo>
                      <a:lnTo>
                        <a:pt x="367" y="867"/>
                      </a:lnTo>
                      <a:lnTo>
                        <a:pt x="375" y="870"/>
                      </a:lnTo>
                      <a:lnTo>
                        <a:pt x="381" y="874"/>
                      </a:lnTo>
                      <a:lnTo>
                        <a:pt x="388" y="874"/>
                      </a:lnTo>
                      <a:lnTo>
                        <a:pt x="388" y="880"/>
                      </a:lnTo>
                      <a:lnTo>
                        <a:pt x="382" y="884"/>
                      </a:lnTo>
                      <a:lnTo>
                        <a:pt x="372" y="887"/>
                      </a:lnTo>
                      <a:lnTo>
                        <a:pt x="365" y="887"/>
                      </a:lnTo>
                      <a:lnTo>
                        <a:pt x="358" y="889"/>
                      </a:lnTo>
                      <a:lnTo>
                        <a:pt x="351" y="887"/>
                      </a:lnTo>
                      <a:lnTo>
                        <a:pt x="342" y="887"/>
                      </a:lnTo>
                      <a:lnTo>
                        <a:pt x="332" y="889"/>
                      </a:lnTo>
                      <a:lnTo>
                        <a:pt x="331" y="889"/>
                      </a:lnTo>
                      <a:lnTo>
                        <a:pt x="323" y="890"/>
                      </a:lnTo>
                      <a:lnTo>
                        <a:pt x="314" y="887"/>
                      </a:lnTo>
                      <a:lnTo>
                        <a:pt x="306" y="887"/>
                      </a:lnTo>
                      <a:lnTo>
                        <a:pt x="295" y="891"/>
                      </a:lnTo>
                      <a:lnTo>
                        <a:pt x="287" y="891"/>
                      </a:lnTo>
                      <a:lnTo>
                        <a:pt x="278" y="895"/>
                      </a:lnTo>
                      <a:lnTo>
                        <a:pt x="271" y="901"/>
                      </a:lnTo>
                      <a:lnTo>
                        <a:pt x="274" y="913"/>
                      </a:lnTo>
                      <a:lnTo>
                        <a:pt x="272" y="921"/>
                      </a:lnTo>
                      <a:lnTo>
                        <a:pt x="264" y="928"/>
                      </a:lnTo>
                      <a:lnTo>
                        <a:pt x="264" y="934"/>
                      </a:lnTo>
                      <a:lnTo>
                        <a:pt x="267" y="941"/>
                      </a:lnTo>
                      <a:lnTo>
                        <a:pt x="267" y="946"/>
                      </a:lnTo>
                      <a:lnTo>
                        <a:pt x="267" y="954"/>
                      </a:lnTo>
                      <a:lnTo>
                        <a:pt x="270" y="957"/>
                      </a:lnTo>
                      <a:lnTo>
                        <a:pt x="274" y="962"/>
                      </a:lnTo>
                      <a:lnTo>
                        <a:pt x="277" y="968"/>
                      </a:lnTo>
                      <a:lnTo>
                        <a:pt x="276" y="976"/>
                      </a:lnTo>
                      <a:lnTo>
                        <a:pt x="270" y="980"/>
                      </a:lnTo>
                      <a:lnTo>
                        <a:pt x="265" y="985"/>
                      </a:lnTo>
                      <a:lnTo>
                        <a:pt x="257" y="985"/>
                      </a:lnTo>
                      <a:lnTo>
                        <a:pt x="250" y="984"/>
                      </a:lnTo>
                      <a:lnTo>
                        <a:pt x="243" y="978"/>
                      </a:lnTo>
                      <a:lnTo>
                        <a:pt x="236" y="981"/>
                      </a:lnTo>
                      <a:lnTo>
                        <a:pt x="222" y="985"/>
                      </a:lnTo>
                      <a:lnTo>
                        <a:pt x="226" y="992"/>
                      </a:lnTo>
                      <a:lnTo>
                        <a:pt x="233" y="997"/>
                      </a:lnTo>
                      <a:lnTo>
                        <a:pt x="233" y="1001"/>
                      </a:lnTo>
                      <a:lnTo>
                        <a:pt x="229" y="1001"/>
                      </a:lnTo>
                      <a:lnTo>
                        <a:pt x="221" y="1002"/>
                      </a:lnTo>
                      <a:lnTo>
                        <a:pt x="215" y="1001"/>
                      </a:lnTo>
                      <a:lnTo>
                        <a:pt x="208" y="1001"/>
                      </a:lnTo>
                      <a:lnTo>
                        <a:pt x="200" y="1003"/>
                      </a:lnTo>
                      <a:lnTo>
                        <a:pt x="198" y="1007"/>
                      </a:lnTo>
                      <a:lnTo>
                        <a:pt x="189" y="1007"/>
                      </a:lnTo>
                      <a:lnTo>
                        <a:pt x="177" y="1007"/>
                      </a:lnTo>
                      <a:lnTo>
                        <a:pt x="169" y="1013"/>
                      </a:lnTo>
                      <a:lnTo>
                        <a:pt x="172" y="1017"/>
                      </a:lnTo>
                      <a:lnTo>
                        <a:pt x="181" y="1014"/>
                      </a:lnTo>
                      <a:lnTo>
                        <a:pt x="187" y="1015"/>
                      </a:lnTo>
                      <a:lnTo>
                        <a:pt x="187" y="1020"/>
                      </a:lnTo>
                      <a:lnTo>
                        <a:pt x="192" y="1026"/>
                      </a:lnTo>
                      <a:lnTo>
                        <a:pt x="195" y="1030"/>
                      </a:lnTo>
                      <a:lnTo>
                        <a:pt x="193" y="1037"/>
                      </a:lnTo>
                      <a:lnTo>
                        <a:pt x="200" y="1043"/>
                      </a:lnTo>
                      <a:lnTo>
                        <a:pt x="208" y="1049"/>
                      </a:lnTo>
                      <a:lnTo>
                        <a:pt x="213" y="1059"/>
                      </a:lnTo>
                      <a:lnTo>
                        <a:pt x="217" y="1063"/>
                      </a:lnTo>
                      <a:lnTo>
                        <a:pt x="216" y="1068"/>
                      </a:lnTo>
                      <a:lnTo>
                        <a:pt x="208" y="1072"/>
                      </a:lnTo>
                      <a:lnTo>
                        <a:pt x="202" y="1070"/>
                      </a:lnTo>
                      <a:lnTo>
                        <a:pt x="195" y="1066"/>
                      </a:lnTo>
                      <a:lnTo>
                        <a:pt x="190" y="1066"/>
                      </a:lnTo>
                      <a:lnTo>
                        <a:pt x="184" y="1071"/>
                      </a:lnTo>
                      <a:lnTo>
                        <a:pt x="178" y="1076"/>
                      </a:lnTo>
                      <a:lnTo>
                        <a:pt x="176" y="1084"/>
                      </a:lnTo>
                      <a:lnTo>
                        <a:pt x="177" y="1090"/>
                      </a:lnTo>
                      <a:lnTo>
                        <a:pt x="183" y="1087"/>
                      </a:lnTo>
                      <a:lnTo>
                        <a:pt x="189" y="1082"/>
                      </a:lnTo>
                      <a:lnTo>
                        <a:pt x="189" y="1088"/>
                      </a:lnTo>
                      <a:lnTo>
                        <a:pt x="193" y="1093"/>
                      </a:lnTo>
                      <a:lnTo>
                        <a:pt x="197" y="1088"/>
                      </a:lnTo>
                      <a:lnTo>
                        <a:pt x="208" y="1088"/>
                      </a:lnTo>
                      <a:lnTo>
                        <a:pt x="211" y="1082"/>
                      </a:lnTo>
                      <a:lnTo>
                        <a:pt x="215" y="1085"/>
                      </a:lnTo>
                      <a:lnTo>
                        <a:pt x="221" y="1088"/>
                      </a:lnTo>
                      <a:lnTo>
                        <a:pt x="220" y="1092"/>
                      </a:lnTo>
                      <a:lnTo>
                        <a:pt x="222" y="1098"/>
                      </a:lnTo>
                      <a:lnTo>
                        <a:pt x="224" y="1107"/>
                      </a:lnTo>
                      <a:lnTo>
                        <a:pt x="233" y="1107"/>
                      </a:lnTo>
                      <a:lnTo>
                        <a:pt x="242" y="1106"/>
                      </a:lnTo>
                      <a:lnTo>
                        <a:pt x="245" y="1110"/>
                      </a:lnTo>
                      <a:lnTo>
                        <a:pt x="250" y="1109"/>
                      </a:lnTo>
                      <a:lnTo>
                        <a:pt x="257" y="1107"/>
                      </a:lnTo>
                      <a:lnTo>
                        <a:pt x="258" y="1103"/>
                      </a:lnTo>
                      <a:lnTo>
                        <a:pt x="262" y="1099"/>
                      </a:lnTo>
                      <a:lnTo>
                        <a:pt x="263" y="1107"/>
                      </a:lnTo>
                      <a:lnTo>
                        <a:pt x="267" y="1108"/>
                      </a:lnTo>
                      <a:lnTo>
                        <a:pt x="270" y="1103"/>
                      </a:lnTo>
                      <a:lnTo>
                        <a:pt x="271" y="1098"/>
                      </a:lnTo>
                      <a:lnTo>
                        <a:pt x="268" y="1095"/>
                      </a:lnTo>
                      <a:lnTo>
                        <a:pt x="264" y="1091"/>
                      </a:lnTo>
                      <a:lnTo>
                        <a:pt x="267" y="1086"/>
                      </a:lnTo>
                      <a:lnTo>
                        <a:pt x="276" y="1085"/>
                      </a:lnTo>
                      <a:lnTo>
                        <a:pt x="281" y="1087"/>
                      </a:lnTo>
                      <a:lnTo>
                        <a:pt x="275" y="1091"/>
                      </a:lnTo>
                      <a:lnTo>
                        <a:pt x="272" y="1095"/>
                      </a:lnTo>
                      <a:lnTo>
                        <a:pt x="277" y="1099"/>
                      </a:lnTo>
                      <a:lnTo>
                        <a:pt x="289" y="1093"/>
                      </a:lnTo>
                      <a:lnTo>
                        <a:pt x="291" y="1088"/>
                      </a:lnTo>
                      <a:lnTo>
                        <a:pt x="298" y="1087"/>
                      </a:lnTo>
                      <a:lnTo>
                        <a:pt x="301" y="1091"/>
                      </a:lnTo>
                      <a:lnTo>
                        <a:pt x="295" y="1094"/>
                      </a:lnTo>
                      <a:lnTo>
                        <a:pt x="294" y="1097"/>
                      </a:lnTo>
                      <a:lnTo>
                        <a:pt x="300" y="1098"/>
                      </a:lnTo>
                      <a:lnTo>
                        <a:pt x="306" y="1100"/>
                      </a:lnTo>
                      <a:lnTo>
                        <a:pt x="306" y="1103"/>
                      </a:lnTo>
                      <a:lnTo>
                        <a:pt x="298" y="1109"/>
                      </a:lnTo>
                      <a:lnTo>
                        <a:pt x="288" y="1111"/>
                      </a:lnTo>
                      <a:lnTo>
                        <a:pt x="280" y="1113"/>
                      </a:lnTo>
                      <a:lnTo>
                        <a:pt x="271" y="1117"/>
                      </a:lnTo>
                      <a:lnTo>
                        <a:pt x="270" y="1122"/>
                      </a:lnTo>
                      <a:lnTo>
                        <a:pt x="271" y="1126"/>
                      </a:lnTo>
                      <a:lnTo>
                        <a:pt x="268" y="1134"/>
                      </a:lnTo>
                      <a:lnTo>
                        <a:pt x="267" y="1141"/>
                      </a:lnTo>
                      <a:lnTo>
                        <a:pt x="272" y="1145"/>
                      </a:lnTo>
                      <a:lnTo>
                        <a:pt x="278" y="1142"/>
                      </a:lnTo>
                      <a:lnTo>
                        <a:pt x="282" y="1141"/>
                      </a:lnTo>
                      <a:lnTo>
                        <a:pt x="290" y="1142"/>
                      </a:lnTo>
                      <a:lnTo>
                        <a:pt x="293" y="1147"/>
                      </a:lnTo>
                      <a:lnTo>
                        <a:pt x="303" y="1153"/>
                      </a:lnTo>
                      <a:lnTo>
                        <a:pt x="308" y="1156"/>
                      </a:lnTo>
                      <a:lnTo>
                        <a:pt x="313" y="1153"/>
                      </a:lnTo>
                      <a:lnTo>
                        <a:pt x="320" y="1150"/>
                      </a:lnTo>
                      <a:lnTo>
                        <a:pt x="326" y="1145"/>
                      </a:lnTo>
                      <a:lnTo>
                        <a:pt x="328" y="1139"/>
                      </a:lnTo>
                      <a:lnTo>
                        <a:pt x="331" y="1132"/>
                      </a:lnTo>
                      <a:lnTo>
                        <a:pt x="334" y="1126"/>
                      </a:lnTo>
                      <a:lnTo>
                        <a:pt x="337" y="1120"/>
                      </a:lnTo>
                      <a:lnTo>
                        <a:pt x="343" y="1117"/>
                      </a:lnTo>
                      <a:lnTo>
                        <a:pt x="345" y="1113"/>
                      </a:lnTo>
                      <a:lnTo>
                        <a:pt x="350" y="1108"/>
                      </a:lnTo>
                      <a:lnTo>
                        <a:pt x="357" y="1112"/>
                      </a:lnTo>
                      <a:lnTo>
                        <a:pt x="358" y="1116"/>
                      </a:lnTo>
                      <a:lnTo>
                        <a:pt x="356" y="1122"/>
                      </a:lnTo>
                      <a:lnTo>
                        <a:pt x="352" y="1127"/>
                      </a:lnTo>
                      <a:lnTo>
                        <a:pt x="348" y="1131"/>
                      </a:lnTo>
                      <a:lnTo>
                        <a:pt x="348" y="1136"/>
                      </a:lnTo>
                      <a:lnTo>
                        <a:pt x="353" y="1138"/>
                      </a:lnTo>
                      <a:lnTo>
                        <a:pt x="358" y="1139"/>
                      </a:lnTo>
                      <a:lnTo>
                        <a:pt x="364" y="1137"/>
                      </a:lnTo>
                      <a:lnTo>
                        <a:pt x="363" y="1131"/>
                      </a:lnTo>
                      <a:lnTo>
                        <a:pt x="363" y="1124"/>
                      </a:lnTo>
                      <a:lnTo>
                        <a:pt x="368" y="1122"/>
                      </a:lnTo>
                      <a:lnTo>
                        <a:pt x="371" y="1124"/>
                      </a:lnTo>
                      <a:lnTo>
                        <a:pt x="375" y="1130"/>
                      </a:lnTo>
                      <a:lnTo>
                        <a:pt x="375" y="1136"/>
                      </a:lnTo>
                      <a:lnTo>
                        <a:pt x="369" y="1141"/>
                      </a:lnTo>
                      <a:lnTo>
                        <a:pt x="362" y="1144"/>
                      </a:lnTo>
                      <a:lnTo>
                        <a:pt x="361" y="1147"/>
                      </a:lnTo>
                      <a:lnTo>
                        <a:pt x="363" y="1156"/>
                      </a:lnTo>
                      <a:lnTo>
                        <a:pt x="363" y="1164"/>
                      </a:lnTo>
                      <a:lnTo>
                        <a:pt x="362" y="1170"/>
                      </a:lnTo>
                      <a:lnTo>
                        <a:pt x="358" y="1178"/>
                      </a:lnTo>
                      <a:lnTo>
                        <a:pt x="359" y="1185"/>
                      </a:lnTo>
                      <a:lnTo>
                        <a:pt x="361" y="1193"/>
                      </a:lnTo>
                      <a:lnTo>
                        <a:pt x="371" y="1194"/>
                      </a:lnTo>
                      <a:lnTo>
                        <a:pt x="373" y="1187"/>
                      </a:lnTo>
                      <a:lnTo>
                        <a:pt x="373" y="1177"/>
                      </a:lnTo>
                      <a:lnTo>
                        <a:pt x="376" y="1168"/>
                      </a:lnTo>
                      <a:lnTo>
                        <a:pt x="382" y="1167"/>
                      </a:lnTo>
                      <a:lnTo>
                        <a:pt x="383" y="1173"/>
                      </a:lnTo>
                      <a:lnTo>
                        <a:pt x="381" y="1181"/>
                      </a:lnTo>
                      <a:lnTo>
                        <a:pt x="384" y="1187"/>
                      </a:lnTo>
                      <a:lnTo>
                        <a:pt x="387" y="1193"/>
                      </a:lnTo>
                      <a:lnTo>
                        <a:pt x="392" y="1195"/>
                      </a:lnTo>
                      <a:lnTo>
                        <a:pt x="403" y="1197"/>
                      </a:lnTo>
                      <a:lnTo>
                        <a:pt x="419" y="1196"/>
                      </a:lnTo>
                      <a:lnTo>
                        <a:pt x="434" y="1194"/>
                      </a:lnTo>
                      <a:lnTo>
                        <a:pt x="441" y="1194"/>
                      </a:lnTo>
                      <a:lnTo>
                        <a:pt x="457" y="1193"/>
                      </a:lnTo>
                      <a:lnTo>
                        <a:pt x="472" y="1192"/>
                      </a:lnTo>
                      <a:lnTo>
                        <a:pt x="479" y="1191"/>
                      </a:lnTo>
                      <a:lnTo>
                        <a:pt x="488" y="1191"/>
                      </a:lnTo>
                      <a:lnTo>
                        <a:pt x="502" y="1190"/>
                      </a:lnTo>
                      <a:lnTo>
                        <a:pt x="515" y="1189"/>
                      </a:lnTo>
                      <a:lnTo>
                        <a:pt x="525" y="1188"/>
                      </a:lnTo>
                      <a:lnTo>
                        <a:pt x="537" y="1187"/>
                      </a:lnTo>
                      <a:lnTo>
                        <a:pt x="547" y="1182"/>
                      </a:lnTo>
                      <a:lnTo>
                        <a:pt x="552" y="1179"/>
                      </a:lnTo>
                      <a:lnTo>
                        <a:pt x="560" y="1176"/>
                      </a:lnTo>
                      <a:lnTo>
                        <a:pt x="579" y="1177"/>
                      </a:lnTo>
                      <a:lnTo>
                        <a:pt x="589" y="1179"/>
                      </a:lnTo>
                      <a:lnTo>
                        <a:pt x="590" y="1183"/>
                      </a:lnTo>
                      <a:lnTo>
                        <a:pt x="585" y="1184"/>
                      </a:lnTo>
                      <a:lnTo>
                        <a:pt x="578" y="1186"/>
                      </a:lnTo>
                      <a:lnTo>
                        <a:pt x="576" y="1190"/>
                      </a:lnTo>
                      <a:lnTo>
                        <a:pt x="571" y="1198"/>
                      </a:lnTo>
                      <a:lnTo>
                        <a:pt x="567" y="1202"/>
                      </a:lnTo>
                      <a:lnTo>
                        <a:pt x="569" y="1207"/>
                      </a:lnTo>
                      <a:lnTo>
                        <a:pt x="575" y="1206"/>
                      </a:lnTo>
                      <a:lnTo>
                        <a:pt x="577" y="1209"/>
                      </a:lnTo>
                      <a:lnTo>
                        <a:pt x="584" y="1212"/>
                      </a:lnTo>
                      <a:lnTo>
                        <a:pt x="590" y="1209"/>
                      </a:lnTo>
                      <a:lnTo>
                        <a:pt x="592" y="1205"/>
                      </a:lnTo>
                      <a:lnTo>
                        <a:pt x="599" y="1205"/>
                      </a:lnTo>
                      <a:lnTo>
                        <a:pt x="598" y="1210"/>
                      </a:lnTo>
                      <a:lnTo>
                        <a:pt x="595" y="1214"/>
                      </a:lnTo>
                      <a:lnTo>
                        <a:pt x="590" y="1220"/>
                      </a:lnTo>
                      <a:lnTo>
                        <a:pt x="588" y="1225"/>
                      </a:lnTo>
                      <a:lnTo>
                        <a:pt x="587" y="1232"/>
                      </a:lnTo>
                      <a:lnTo>
                        <a:pt x="588" y="1241"/>
                      </a:lnTo>
                      <a:lnTo>
                        <a:pt x="592" y="1247"/>
                      </a:lnTo>
                      <a:lnTo>
                        <a:pt x="587" y="1247"/>
                      </a:lnTo>
                      <a:lnTo>
                        <a:pt x="582" y="1243"/>
                      </a:lnTo>
                      <a:lnTo>
                        <a:pt x="577" y="1238"/>
                      </a:lnTo>
                      <a:lnTo>
                        <a:pt x="577" y="1232"/>
                      </a:lnTo>
                      <a:lnTo>
                        <a:pt x="571" y="1231"/>
                      </a:lnTo>
                      <a:lnTo>
                        <a:pt x="555" y="1232"/>
                      </a:lnTo>
                      <a:lnTo>
                        <a:pt x="547" y="1231"/>
                      </a:lnTo>
                      <a:lnTo>
                        <a:pt x="543" y="1235"/>
                      </a:lnTo>
                      <a:lnTo>
                        <a:pt x="550" y="1237"/>
                      </a:lnTo>
                      <a:lnTo>
                        <a:pt x="558" y="1237"/>
                      </a:lnTo>
                      <a:lnTo>
                        <a:pt x="567" y="1240"/>
                      </a:lnTo>
                      <a:lnTo>
                        <a:pt x="566" y="1243"/>
                      </a:lnTo>
                      <a:lnTo>
                        <a:pt x="563" y="1245"/>
                      </a:lnTo>
                      <a:lnTo>
                        <a:pt x="556" y="1243"/>
                      </a:lnTo>
                      <a:lnTo>
                        <a:pt x="545" y="1240"/>
                      </a:lnTo>
                      <a:lnTo>
                        <a:pt x="536" y="1238"/>
                      </a:lnTo>
                      <a:lnTo>
                        <a:pt x="524" y="1239"/>
                      </a:lnTo>
                      <a:lnTo>
                        <a:pt x="523" y="1242"/>
                      </a:lnTo>
                      <a:lnTo>
                        <a:pt x="529" y="1245"/>
                      </a:lnTo>
                      <a:lnTo>
                        <a:pt x="533" y="1248"/>
                      </a:lnTo>
                      <a:lnTo>
                        <a:pt x="526" y="1252"/>
                      </a:lnTo>
                      <a:lnTo>
                        <a:pt x="519" y="1253"/>
                      </a:lnTo>
                      <a:lnTo>
                        <a:pt x="514" y="1254"/>
                      </a:lnTo>
                      <a:lnTo>
                        <a:pt x="509" y="1255"/>
                      </a:lnTo>
                      <a:lnTo>
                        <a:pt x="507" y="1253"/>
                      </a:lnTo>
                      <a:lnTo>
                        <a:pt x="501" y="1250"/>
                      </a:lnTo>
                      <a:lnTo>
                        <a:pt x="497" y="1246"/>
                      </a:lnTo>
                      <a:lnTo>
                        <a:pt x="488" y="1245"/>
                      </a:lnTo>
                      <a:lnTo>
                        <a:pt x="483" y="1241"/>
                      </a:lnTo>
                      <a:lnTo>
                        <a:pt x="480" y="1239"/>
                      </a:lnTo>
                      <a:lnTo>
                        <a:pt x="474" y="1239"/>
                      </a:lnTo>
                      <a:lnTo>
                        <a:pt x="471" y="1245"/>
                      </a:lnTo>
                      <a:lnTo>
                        <a:pt x="468" y="1251"/>
                      </a:lnTo>
                      <a:lnTo>
                        <a:pt x="469" y="1259"/>
                      </a:lnTo>
                      <a:lnTo>
                        <a:pt x="464" y="1268"/>
                      </a:lnTo>
                      <a:lnTo>
                        <a:pt x="458" y="1274"/>
                      </a:lnTo>
                      <a:lnTo>
                        <a:pt x="454" y="1278"/>
                      </a:lnTo>
                      <a:lnTo>
                        <a:pt x="449" y="1281"/>
                      </a:lnTo>
                      <a:lnTo>
                        <a:pt x="445" y="1287"/>
                      </a:lnTo>
                      <a:lnTo>
                        <a:pt x="442" y="1294"/>
                      </a:lnTo>
                      <a:lnTo>
                        <a:pt x="437" y="1302"/>
                      </a:lnTo>
                      <a:lnTo>
                        <a:pt x="433" y="1312"/>
                      </a:lnTo>
                      <a:lnTo>
                        <a:pt x="431" y="1320"/>
                      </a:lnTo>
                      <a:lnTo>
                        <a:pt x="426" y="1329"/>
                      </a:lnTo>
                      <a:lnTo>
                        <a:pt x="423" y="1334"/>
                      </a:lnTo>
                      <a:lnTo>
                        <a:pt x="418" y="1343"/>
                      </a:lnTo>
                      <a:lnTo>
                        <a:pt x="412" y="1349"/>
                      </a:lnTo>
                      <a:lnTo>
                        <a:pt x="405" y="1353"/>
                      </a:lnTo>
                      <a:lnTo>
                        <a:pt x="406" y="1359"/>
                      </a:lnTo>
                      <a:lnTo>
                        <a:pt x="412" y="1360"/>
                      </a:lnTo>
                      <a:lnTo>
                        <a:pt x="422" y="1360"/>
                      </a:lnTo>
                      <a:lnTo>
                        <a:pt x="428" y="1362"/>
                      </a:lnTo>
                      <a:lnTo>
                        <a:pt x="435" y="1363"/>
                      </a:lnTo>
                      <a:lnTo>
                        <a:pt x="437" y="1358"/>
                      </a:lnTo>
                      <a:lnTo>
                        <a:pt x="443" y="1359"/>
                      </a:lnTo>
                      <a:lnTo>
                        <a:pt x="443" y="1365"/>
                      </a:lnTo>
                      <a:lnTo>
                        <a:pt x="439" y="1371"/>
                      </a:lnTo>
                      <a:lnTo>
                        <a:pt x="435" y="1377"/>
                      </a:lnTo>
                      <a:lnTo>
                        <a:pt x="430" y="1383"/>
                      </a:lnTo>
                      <a:lnTo>
                        <a:pt x="422" y="1387"/>
                      </a:lnTo>
                      <a:lnTo>
                        <a:pt x="418" y="1390"/>
                      </a:lnTo>
                      <a:lnTo>
                        <a:pt x="416" y="1395"/>
                      </a:lnTo>
                      <a:lnTo>
                        <a:pt x="418" y="1402"/>
                      </a:lnTo>
                      <a:lnTo>
                        <a:pt x="415" y="1406"/>
                      </a:lnTo>
                      <a:lnTo>
                        <a:pt x="416" y="1414"/>
                      </a:lnTo>
                      <a:lnTo>
                        <a:pt x="411" y="1420"/>
                      </a:lnTo>
                      <a:lnTo>
                        <a:pt x="407" y="1425"/>
                      </a:lnTo>
                      <a:lnTo>
                        <a:pt x="402" y="1432"/>
                      </a:lnTo>
                      <a:lnTo>
                        <a:pt x="397" y="1436"/>
                      </a:lnTo>
                      <a:lnTo>
                        <a:pt x="398" y="1447"/>
                      </a:lnTo>
                      <a:lnTo>
                        <a:pt x="396" y="1453"/>
                      </a:lnTo>
                      <a:lnTo>
                        <a:pt x="391" y="1462"/>
                      </a:lnTo>
                      <a:lnTo>
                        <a:pt x="386" y="1466"/>
                      </a:lnTo>
                      <a:lnTo>
                        <a:pt x="378" y="1466"/>
                      </a:lnTo>
                      <a:lnTo>
                        <a:pt x="372" y="1464"/>
                      </a:lnTo>
                      <a:lnTo>
                        <a:pt x="366" y="1463"/>
                      </a:lnTo>
                      <a:lnTo>
                        <a:pt x="360" y="1469"/>
                      </a:lnTo>
                      <a:lnTo>
                        <a:pt x="354" y="1474"/>
                      </a:lnTo>
                      <a:lnTo>
                        <a:pt x="350" y="1478"/>
                      </a:lnTo>
                      <a:lnTo>
                        <a:pt x="347" y="1486"/>
                      </a:lnTo>
                      <a:lnTo>
                        <a:pt x="341" y="1492"/>
                      </a:lnTo>
                      <a:lnTo>
                        <a:pt x="341" y="1497"/>
                      </a:lnTo>
                      <a:lnTo>
                        <a:pt x="334" y="1502"/>
                      </a:lnTo>
                      <a:lnTo>
                        <a:pt x="326" y="1506"/>
                      </a:lnTo>
                      <a:lnTo>
                        <a:pt x="321" y="1512"/>
                      </a:lnTo>
                      <a:lnTo>
                        <a:pt x="316" y="1519"/>
                      </a:lnTo>
                      <a:lnTo>
                        <a:pt x="301" y="1528"/>
                      </a:lnTo>
                      <a:lnTo>
                        <a:pt x="290" y="1540"/>
                      </a:lnTo>
                      <a:lnTo>
                        <a:pt x="284" y="1548"/>
                      </a:lnTo>
                      <a:lnTo>
                        <a:pt x="275" y="1551"/>
                      </a:lnTo>
                      <a:lnTo>
                        <a:pt x="258" y="1556"/>
                      </a:lnTo>
                      <a:lnTo>
                        <a:pt x="245" y="1562"/>
                      </a:lnTo>
                      <a:lnTo>
                        <a:pt x="246" y="1568"/>
                      </a:lnTo>
                      <a:lnTo>
                        <a:pt x="256" y="1569"/>
                      </a:lnTo>
                      <a:lnTo>
                        <a:pt x="267" y="1568"/>
                      </a:lnTo>
                      <a:lnTo>
                        <a:pt x="274" y="1564"/>
                      </a:lnTo>
                      <a:lnTo>
                        <a:pt x="282" y="1562"/>
                      </a:lnTo>
                      <a:lnTo>
                        <a:pt x="290" y="1563"/>
                      </a:lnTo>
                      <a:lnTo>
                        <a:pt x="298" y="1564"/>
                      </a:lnTo>
                      <a:lnTo>
                        <a:pt x="305" y="1560"/>
                      </a:lnTo>
                      <a:lnTo>
                        <a:pt x="312" y="1555"/>
                      </a:lnTo>
                      <a:lnTo>
                        <a:pt x="317" y="1556"/>
                      </a:lnTo>
                      <a:lnTo>
                        <a:pt x="323" y="1556"/>
                      </a:lnTo>
                      <a:lnTo>
                        <a:pt x="323" y="1551"/>
                      </a:lnTo>
                      <a:lnTo>
                        <a:pt x="326" y="1545"/>
                      </a:lnTo>
                      <a:lnTo>
                        <a:pt x="329" y="1540"/>
                      </a:lnTo>
                      <a:lnTo>
                        <a:pt x="337" y="1538"/>
                      </a:lnTo>
                      <a:lnTo>
                        <a:pt x="345" y="1537"/>
                      </a:lnTo>
                      <a:lnTo>
                        <a:pt x="353" y="1538"/>
                      </a:lnTo>
                      <a:lnTo>
                        <a:pt x="359" y="1534"/>
                      </a:lnTo>
                      <a:lnTo>
                        <a:pt x="363" y="1532"/>
                      </a:lnTo>
                      <a:lnTo>
                        <a:pt x="370" y="1530"/>
                      </a:lnTo>
                      <a:lnTo>
                        <a:pt x="372" y="1526"/>
                      </a:lnTo>
                      <a:lnTo>
                        <a:pt x="369" y="1521"/>
                      </a:lnTo>
                      <a:lnTo>
                        <a:pt x="366" y="1515"/>
                      </a:lnTo>
                      <a:lnTo>
                        <a:pt x="370" y="1508"/>
                      </a:lnTo>
                      <a:lnTo>
                        <a:pt x="379" y="1510"/>
                      </a:lnTo>
                      <a:lnTo>
                        <a:pt x="377" y="1517"/>
                      </a:lnTo>
                      <a:lnTo>
                        <a:pt x="380" y="1525"/>
                      </a:lnTo>
                      <a:lnTo>
                        <a:pt x="383" y="1531"/>
                      </a:lnTo>
                      <a:lnTo>
                        <a:pt x="390" y="1533"/>
                      </a:lnTo>
                      <a:lnTo>
                        <a:pt x="400" y="1536"/>
                      </a:lnTo>
                      <a:lnTo>
                        <a:pt x="408" y="1539"/>
                      </a:lnTo>
                      <a:lnTo>
                        <a:pt x="411" y="1543"/>
                      </a:lnTo>
                      <a:lnTo>
                        <a:pt x="425" y="1543"/>
                      </a:lnTo>
                      <a:lnTo>
                        <a:pt x="432" y="1541"/>
                      </a:lnTo>
                      <a:lnTo>
                        <a:pt x="439" y="1537"/>
                      </a:lnTo>
                      <a:lnTo>
                        <a:pt x="445" y="1533"/>
                      </a:lnTo>
                      <a:lnTo>
                        <a:pt x="456" y="1531"/>
                      </a:lnTo>
                      <a:lnTo>
                        <a:pt x="468" y="1528"/>
                      </a:lnTo>
                      <a:lnTo>
                        <a:pt x="471" y="1532"/>
                      </a:lnTo>
                      <a:lnTo>
                        <a:pt x="463" y="1535"/>
                      </a:lnTo>
                      <a:lnTo>
                        <a:pt x="458" y="1543"/>
                      </a:lnTo>
                      <a:lnTo>
                        <a:pt x="451" y="1545"/>
                      </a:lnTo>
                      <a:lnTo>
                        <a:pt x="448" y="1551"/>
                      </a:lnTo>
                      <a:lnTo>
                        <a:pt x="455" y="1555"/>
                      </a:lnTo>
                      <a:lnTo>
                        <a:pt x="464" y="1555"/>
                      </a:lnTo>
                      <a:lnTo>
                        <a:pt x="471" y="1551"/>
                      </a:lnTo>
                      <a:lnTo>
                        <a:pt x="474" y="1543"/>
                      </a:lnTo>
                      <a:lnTo>
                        <a:pt x="482" y="1537"/>
                      </a:lnTo>
                      <a:lnTo>
                        <a:pt x="492" y="1535"/>
                      </a:lnTo>
                      <a:lnTo>
                        <a:pt x="501" y="1537"/>
                      </a:lnTo>
                      <a:lnTo>
                        <a:pt x="509" y="1537"/>
                      </a:lnTo>
                      <a:lnTo>
                        <a:pt x="516" y="1530"/>
                      </a:lnTo>
                      <a:lnTo>
                        <a:pt x="520" y="1525"/>
                      </a:lnTo>
                      <a:lnTo>
                        <a:pt x="532" y="1513"/>
                      </a:lnTo>
                      <a:lnTo>
                        <a:pt x="538" y="1507"/>
                      </a:lnTo>
                      <a:lnTo>
                        <a:pt x="543" y="1497"/>
                      </a:lnTo>
                      <a:lnTo>
                        <a:pt x="547" y="1491"/>
                      </a:lnTo>
                      <a:lnTo>
                        <a:pt x="551" y="1483"/>
                      </a:lnTo>
                      <a:lnTo>
                        <a:pt x="551" y="1477"/>
                      </a:lnTo>
                      <a:lnTo>
                        <a:pt x="551" y="1468"/>
                      </a:lnTo>
                      <a:lnTo>
                        <a:pt x="560" y="1461"/>
                      </a:lnTo>
                      <a:lnTo>
                        <a:pt x="565" y="1459"/>
                      </a:lnTo>
                      <a:lnTo>
                        <a:pt x="570" y="1457"/>
                      </a:lnTo>
                      <a:lnTo>
                        <a:pt x="575" y="1456"/>
                      </a:lnTo>
                      <a:lnTo>
                        <a:pt x="576" y="1459"/>
                      </a:lnTo>
                      <a:lnTo>
                        <a:pt x="577" y="1466"/>
                      </a:lnTo>
                      <a:lnTo>
                        <a:pt x="581" y="1474"/>
                      </a:lnTo>
                      <a:lnTo>
                        <a:pt x="582" y="1479"/>
                      </a:lnTo>
                      <a:lnTo>
                        <a:pt x="586" y="1484"/>
                      </a:lnTo>
                      <a:lnTo>
                        <a:pt x="582" y="1493"/>
                      </a:lnTo>
                      <a:lnTo>
                        <a:pt x="577" y="1498"/>
                      </a:lnTo>
                      <a:lnTo>
                        <a:pt x="577" y="1502"/>
                      </a:lnTo>
                      <a:lnTo>
                        <a:pt x="588" y="1502"/>
                      </a:lnTo>
                      <a:lnTo>
                        <a:pt x="596" y="1500"/>
                      </a:lnTo>
                      <a:lnTo>
                        <a:pt x="606" y="1499"/>
                      </a:lnTo>
                      <a:lnTo>
                        <a:pt x="612" y="1498"/>
                      </a:lnTo>
                      <a:lnTo>
                        <a:pt x="617" y="1501"/>
                      </a:lnTo>
                      <a:lnTo>
                        <a:pt x="626" y="1504"/>
                      </a:lnTo>
                      <a:lnTo>
                        <a:pt x="637" y="1507"/>
                      </a:lnTo>
                      <a:lnTo>
                        <a:pt x="647" y="1509"/>
                      </a:lnTo>
                      <a:lnTo>
                        <a:pt x="654" y="1508"/>
                      </a:lnTo>
                      <a:lnTo>
                        <a:pt x="647" y="1513"/>
                      </a:lnTo>
                      <a:lnTo>
                        <a:pt x="642" y="1512"/>
                      </a:lnTo>
                      <a:lnTo>
                        <a:pt x="638" y="1514"/>
                      </a:lnTo>
                      <a:lnTo>
                        <a:pt x="632" y="1518"/>
                      </a:lnTo>
                      <a:lnTo>
                        <a:pt x="626" y="1516"/>
                      </a:lnTo>
                      <a:lnTo>
                        <a:pt x="626" y="1511"/>
                      </a:lnTo>
                      <a:lnTo>
                        <a:pt x="625" y="1511"/>
                      </a:lnTo>
                      <a:lnTo>
                        <a:pt x="624" y="1511"/>
                      </a:lnTo>
                      <a:lnTo>
                        <a:pt x="619" y="1513"/>
                      </a:lnTo>
                      <a:lnTo>
                        <a:pt x="603" y="1513"/>
                      </a:lnTo>
                      <a:lnTo>
                        <a:pt x="595" y="1517"/>
                      </a:lnTo>
                      <a:lnTo>
                        <a:pt x="582" y="1519"/>
                      </a:lnTo>
                      <a:lnTo>
                        <a:pt x="566" y="1529"/>
                      </a:lnTo>
                      <a:lnTo>
                        <a:pt x="563" y="1538"/>
                      </a:lnTo>
                      <a:lnTo>
                        <a:pt x="558" y="1535"/>
                      </a:lnTo>
                      <a:lnTo>
                        <a:pt x="547" y="1538"/>
                      </a:lnTo>
                      <a:lnTo>
                        <a:pt x="546" y="1532"/>
                      </a:lnTo>
                      <a:lnTo>
                        <a:pt x="540" y="1534"/>
                      </a:lnTo>
                      <a:lnTo>
                        <a:pt x="536" y="1539"/>
                      </a:lnTo>
                      <a:lnTo>
                        <a:pt x="526" y="1542"/>
                      </a:lnTo>
                      <a:lnTo>
                        <a:pt x="519" y="1543"/>
                      </a:lnTo>
                      <a:lnTo>
                        <a:pt x="506" y="1546"/>
                      </a:lnTo>
                      <a:lnTo>
                        <a:pt x="494" y="1550"/>
                      </a:lnTo>
                      <a:lnTo>
                        <a:pt x="487" y="1554"/>
                      </a:lnTo>
                      <a:lnTo>
                        <a:pt x="478" y="1560"/>
                      </a:lnTo>
                      <a:lnTo>
                        <a:pt x="475" y="1563"/>
                      </a:lnTo>
                      <a:lnTo>
                        <a:pt x="462" y="1565"/>
                      </a:lnTo>
                      <a:lnTo>
                        <a:pt x="455" y="1563"/>
                      </a:lnTo>
                      <a:lnTo>
                        <a:pt x="452" y="1563"/>
                      </a:lnTo>
                      <a:lnTo>
                        <a:pt x="450" y="1563"/>
                      </a:lnTo>
                      <a:lnTo>
                        <a:pt x="446" y="1562"/>
                      </a:lnTo>
                      <a:lnTo>
                        <a:pt x="440" y="1563"/>
                      </a:lnTo>
                      <a:lnTo>
                        <a:pt x="437" y="1559"/>
                      </a:lnTo>
                      <a:lnTo>
                        <a:pt x="435" y="1559"/>
                      </a:lnTo>
                      <a:lnTo>
                        <a:pt x="429" y="1559"/>
                      </a:lnTo>
                      <a:lnTo>
                        <a:pt x="422" y="1558"/>
                      </a:lnTo>
                      <a:lnTo>
                        <a:pt x="417" y="1557"/>
                      </a:lnTo>
                      <a:lnTo>
                        <a:pt x="411" y="1560"/>
                      </a:lnTo>
                      <a:lnTo>
                        <a:pt x="406" y="1563"/>
                      </a:lnTo>
                      <a:lnTo>
                        <a:pt x="403" y="1567"/>
                      </a:lnTo>
                      <a:lnTo>
                        <a:pt x="400" y="1570"/>
                      </a:lnTo>
                      <a:lnTo>
                        <a:pt x="393" y="1566"/>
                      </a:lnTo>
                      <a:lnTo>
                        <a:pt x="387" y="1565"/>
                      </a:lnTo>
                      <a:lnTo>
                        <a:pt x="379" y="1564"/>
                      </a:lnTo>
                      <a:lnTo>
                        <a:pt x="373" y="1566"/>
                      </a:lnTo>
                      <a:lnTo>
                        <a:pt x="365" y="1562"/>
                      </a:lnTo>
                      <a:lnTo>
                        <a:pt x="357" y="1561"/>
                      </a:lnTo>
                      <a:lnTo>
                        <a:pt x="350" y="1560"/>
                      </a:lnTo>
                      <a:lnTo>
                        <a:pt x="344" y="1562"/>
                      </a:lnTo>
                      <a:lnTo>
                        <a:pt x="338" y="1567"/>
                      </a:lnTo>
                      <a:lnTo>
                        <a:pt x="333" y="1573"/>
                      </a:lnTo>
                      <a:lnTo>
                        <a:pt x="335" y="1580"/>
                      </a:lnTo>
                      <a:lnTo>
                        <a:pt x="333" y="1587"/>
                      </a:lnTo>
                      <a:lnTo>
                        <a:pt x="332" y="1596"/>
                      </a:lnTo>
                      <a:lnTo>
                        <a:pt x="334" y="1604"/>
                      </a:lnTo>
                      <a:lnTo>
                        <a:pt x="341" y="1608"/>
                      </a:lnTo>
                      <a:lnTo>
                        <a:pt x="346" y="1613"/>
                      </a:lnTo>
                      <a:lnTo>
                        <a:pt x="344" y="1617"/>
                      </a:lnTo>
                      <a:lnTo>
                        <a:pt x="339" y="1613"/>
                      </a:lnTo>
                      <a:lnTo>
                        <a:pt x="333" y="1613"/>
                      </a:lnTo>
                      <a:lnTo>
                        <a:pt x="326" y="1612"/>
                      </a:lnTo>
                      <a:lnTo>
                        <a:pt x="321" y="1613"/>
                      </a:lnTo>
                      <a:lnTo>
                        <a:pt x="316" y="1613"/>
                      </a:lnTo>
                      <a:lnTo>
                        <a:pt x="312" y="1618"/>
                      </a:lnTo>
                      <a:lnTo>
                        <a:pt x="307" y="1624"/>
                      </a:lnTo>
                      <a:lnTo>
                        <a:pt x="302" y="1630"/>
                      </a:lnTo>
                      <a:lnTo>
                        <a:pt x="296" y="1632"/>
                      </a:lnTo>
                      <a:lnTo>
                        <a:pt x="291" y="1633"/>
                      </a:lnTo>
                      <a:lnTo>
                        <a:pt x="280" y="1638"/>
                      </a:lnTo>
                      <a:lnTo>
                        <a:pt x="268" y="1639"/>
                      </a:lnTo>
                      <a:lnTo>
                        <a:pt x="263" y="1638"/>
                      </a:lnTo>
                      <a:lnTo>
                        <a:pt x="251" y="1639"/>
                      </a:lnTo>
                      <a:lnTo>
                        <a:pt x="244" y="1641"/>
                      </a:lnTo>
                      <a:lnTo>
                        <a:pt x="239" y="1647"/>
                      </a:lnTo>
                      <a:lnTo>
                        <a:pt x="241" y="1653"/>
                      </a:lnTo>
                      <a:lnTo>
                        <a:pt x="246" y="1660"/>
                      </a:lnTo>
                      <a:lnTo>
                        <a:pt x="264" y="1661"/>
                      </a:lnTo>
                      <a:lnTo>
                        <a:pt x="268" y="1662"/>
                      </a:lnTo>
                      <a:lnTo>
                        <a:pt x="273" y="1664"/>
                      </a:lnTo>
                      <a:lnTo>
                        <a:pt x="277" y="1673"/>
                      </a:lnTo>
                      <a:lnTo>
                        <a:pt x="277" y="1684"/>
                      </a:lnTo>
                      <a:lnTo>
                        <a:pt x="276" y="1694"/>
                      </a:lnTo>
                      <a:lnTo>
                        <a:pt x="271" y="1706"/>
                      </a:lnTo>
                      <a:lnTo>
                        <a:pt x="267" y="1710"/>
                      </a:lnTo>
                      <a:lnTo>
                        <a:pt x="261" y="1710"/>
                      </a:lnTo>
                      <a:lnTo>
                        <a:pt x="257" y="1713"/>
                      </a:lnTo>
                      <a:lnTo>
                        <a:pt x="258" y="1719"/>
                      </a:lnTo>
                      <a:lnTo>
                        <a:pt x="262" y="1726"/>
                      </a:lnTo>
                      <a:lnTo>
                        <a:pt x="268" y="1724"/>
                      </a:lnTo>
                      <a:lnTo>
                        <a:pt x="275" y="1724"/>
                      </a:lnTo>
                      <a:lnTo>
                        <a:pt x="282" y="1726"/>
                      </a:lnTo>
                      <a:lnTo>
                        <a:pt x="292" y="1725"/>
                      </a:lnTo>
                      <a:lnTo>
                        <a:pt x="299" y="1726"/>
                      </a:lnTo>
                      <a:lnTo>
                        <a:pt x="306" y="1730"/>
                      </a:lnTo>
                      <a:lnTo>
                        <a:pt x="306" y="1740"/>
                      </a:lnTo>
                      <a:lnTo>
                        <a:pt x="303" y="1743"/>
                      </a:lnTo>
                      <a:lnTo>
                        <a:pt x="297" y="1741"/>
                      </a:lnTo>
                      <a:lnTo>
                        <a:pt x="291" y="1742"/>
                      </a:lnTo>
                      <a:lnTo>
                        <a:pt x="284" y="1745"/>
                      </a:lnTo>
                      <a:lnTo>
                        <a:pt x="280" y="1739"/>
                      </a:lnTo>
                      <a:lnTo>
                        <a:pt x="278" y="1735"/>
                      </a:lnTo>
                      <a:lnTo>
                        <a:pt x="273" y="1738"/>
                      </a:lnTo>
                      <a:lnTo>
                        <a:pt x="267" y="1745"/>
                      </a:lnTo>
                      <a:lnTo>
                        <a:pt x="256" y="1747"/>
                      </a:lnTo>
                      <a:lnTo>
                        <a:pt x="247" y="1747"/>
                      </a:lnTo>
                      <a:lnTo>
                        <a:pt x="239" y="1747"/>
                      </a:lnTo>
                      <a:lnTo>
                        <a:pt x="228" y="1743"/>
                      </a:lnTo>
                      <a:lnTo>
                        <a:pt x="220" y="1738"/>
                      </a:lnTo>
                      <a:lnTo>
                        <a:pt x="216" y="1734"/>
                      </a:lnTo>
                      <a:lnTo>
                        <a:pt x="214" y="1728"/>
                      </a:lnTo>
                      <a:lnTo>
                        <a:pt x="215" y="1721"/>
                      </a:lnTo>
                      <a:lnTo>
                        <a:pt x="216" y="1715"/>
                      </a:lnTo>
                      <a:lnTo>
                        <a:pt x="216" y="1707"/>
                      </a:lnTo>
                      <a:lnTo>
                        <a:pt x="214" y="1704"/>
                      </a:lnTo>
                      <a:lnTo>
                        <a:pt x="210" y="1705"/>
                      </a:lnTo>
                      <a:lnTo>
                        <a:pt x="204" y="1704"/>
                      </a:lnTo>
                      <a:lnTo>
                        <a:pt x="201" y="1706"/>
                      </a:lnTo>
                      <a:lnTo>
                        <a:pt x="200" y="1709"/>
                      </a:lnTo>
                      <a:lnTo>
                        <a:pt x="206" y="1714"/>
                      </a:lnTo>
                      <a:lnTo>
                        <a:pt x="205" y="1721"/>
                      </a:lnTo>
                      <a:lnTo>
                        <a:pt x="202" y="1728"/>
                      </a:lnTo>
                      <a:lnTo>
                        <a:pt x="197" y="1734"/>
                      </a:lnTo>
                      <a:lnTo>
                        <a:pt x="187" y="1740"/>
                      </a:lnTo>
                      <a:lnTo>
                        <a:pt x="181" y="1739"/>
                      </a:lnTo>
                      <a:lnTo>
                        <a:pt x="175" y="1740"/>
                      </a:lnTo>
                      <a:lnTo>
                        <a:pt x="169" y="1745"/>
                      </a:lnTo>
                      <a:lnTo>
                        <a:pt x="162" y="1745"/>
                      </a:lnTo>
                      <a:lnTo>
                        <a:pt x="161" y="1739"/>
                      </a:lnTo>
                      <a:lnTo>
                        <a:pt x="165" y="1733"/>
                      </a:lnTo>
                      <a:lnTo>
                        <a:pt x="166" y="1725"/>
                      </a:lnTo>
                      <a:lnTo>
                        <a:pt x="169" y="1719"/>
                      </a:lnTo>
                      <a:lnTo>
                        <a:pt x="165" y="1713"/>
                      </a:lnTo>
                      <a:lnTo>
                        <a:pt x="158" y="1714"/>
                      </a:lnTo>
                      <a:lnTo>
                        <a:pt x="153" y="1715"/>
                      </a:lnTo>
                      <a:lnTo>
                        <a:pt x="148" y="1719"/>
                      </a:lnTo>
                      <a:lnTo>
                        <a:pt x="144" y="1722"/>
                      </a:lnTo>
                      <a:lnTo>
                        <a:pt x="135" y="1721"/>
                      </a:lnTo>
                      <a:lnTo>
                        <a:pt x="129" y="1722"/>
                      </a:lnTo>
                      <a:lnTo>
                        <a:pt x="122" y="1728"/>
                      </a:lnTo>
                      <a:lnTo>
                        <a:pt x="116" y="1732"/>
                      </a:lnTo>
                      <a:lnTo>
                        <a:pt x="116" y="1742"/>
                      </a:lnTo>
                      <a:lnTo>
                        <a:pt x="107" y="1743"/>
                      </a:lnTo>
                      <a:lnTo>
                        <a:pt x="100" y="1744"/>
                      </a:lnTo>
                      <a:lnTo>
                        <a:pt x="96" y="1745"/>
                      </a:lnTo>
                      <a:lnTo>
                        <a:pt x="93" y="1749"/>
                      </a:lnTo>
                      <a:lnTo>
                        <a:pt x="92" y="1754"/>
                      </a:lnTo>
                      <a:lnTo>
                        <a:pt x="95" y="1759"/>
                      </a:lnTo>
                      <a:lnTo>
                        <a:pt x="93" y="1763"/>
                      </a:lnTo>
                      <a:lnTo>
                        <a:pt x="90" y="1768"/>
                      </a:lnTo>
                      <a:lnTo>
                        <a:pt x="93" y="1773"/>
                      </a:lnTo>
                      <a:lnTo>
                        <a:pt x="87" y="1777"/>
                      </a:lnTo>
                      <a:lnTo>
                        <a:pt x="82" y="1776"/>
                      </a:lnTo>
                      <a:lnTo>
                        <a:pt x="78" y="1771"/>
                      </a:lnTo>
                      <a:lnTo>
                        <a:pt x="78" y="1764"/>
                      </a:lnTo>
                      <a:lnTo>
                        <a:pt x="75" y="1761"/>
                      </a:lnTo>
                      <a:lnTo>
                        <a:pt x="71" y="1763"/>
                      </a:lnTo>
                      <a:lnTo>
                        <a:pt x="61" y="1769"/>
                      </a:lnTo>
                      <a:lnTo>
                        <a:pt x="58" y="1773"/>
                      </a:lnTo>
                      <a:lnTo>
                        <a:pt x="63" y="1777"/>
                      </a:lnTo>
                      <a:lnTo>
                        <a:pt x="65" y="1781"/>
                      </a:lnTo>
                      <a:lnTo>
                        <a:pt x="61" y="1784"/>
                      </a:lnTo>
                      <a:lnTo>
                        <a:pt x="56" y="1787"/>
                      </a:lnTo>
                      <a:lnTo>
                        <a:pt x="56" y="1789"/>
                      </a:lnTo>
                      <a:lnTo>
                        <a:pt x="56" y="1802"/>
                      </a:lnTo>
                      <a:lnTo>
                        <a:pt x="56" y="1812"/>
                      </a:lnTo>
                      <a:lnTo>
                        <a:pt x="61" y="1817"/>
                      </a:lnTo>
                      <a:lnTo>
                        <a:pt x="67" y="1819"/>
                      </a:lnTo>
                      <a:lnTo>
                        <a:pt x="74" y="1819"/>
                      </a:lnTo>
                      <a:lnTo>
                        <a:pt x="80" y="1816"/>
                      </a:lnTo>
                      <a:lnTo>
                        <a:pt x="88" y="1816"/>
                      </a:lnTo>
                      <a:lnTo>
                        <a:pt x="95" y="1814"/>
                      </a:lnTo>
                      <a:lnTo>
                        <a:pt x="94" y="1810"/>
                      </a:lnTo>
                      <a:lnTo>
                        <a:pt x="93" y="1804"/>
                      </a:lnTo>
                      <a:lnTo>
                        <a:pt x="97" y="1804"/>
                      </a:lnTo>
                      <a:lnTo>
                        <a:pt x="103" y="1809"/>
                      </a:lnTo>
                      <a:lnTo>
                        <a:pt x="108" y="1812"/>
                      </a:lnTo>
                      <a:lnTo>
                        <a:pt x="117" y="1813"/>
                      </a:lnTo>
                      <a:lnTo>
                        <a:pt x="124" y="1813"/>
                      </a:lnTo>
                      <a:lnTo>
                        <a:pt x="123" y="1810"/>
                      </a:lnTo>
                      <a:lnTo>
                        <a:pt x="117" y="1806"/>
                      </a:lnTo>
                      <a:lnTo>
                        <a:pt x="113" y="1802"/>
                      </a:lnTo>
                      <a:lnTo>
                        <a:pt x="118" y="1800"/>
                      </a:lnTo>
                      <a:lnTo>
                        <a:pt x="125" y="1801"/>
                      </a:lnTo>
                      <a:lnTo>
                        <a:pt x="127" y="1808"/>
                      </a:lnTo>
                      <a:lnTo>
                        <a:pt x="137" y="1807"/>
                      </a:lnTo>
                      <a:lnTo>
                        <a:pt x="141" y="1803"/>
                      </a:lnTo>
                      <a:lnTo>
                        <a:pt x="146" y="1809"/>
                      </a:lnTo>
                      <a:lnTo>
                        <a:pt x="150" y="1813"/>
                      </a:lnTo>
                      <a:lnTo>
                        <a:pt x="155" y="1812"/>
                      </a:lnTo>
                      <a:lnTo>
                        <a:pt x="168" y="1811"/>
                      </a:lnTo>
                      <a:lnTo>
                        <a:pt x="173" y="1808"/>
                      </a:lnTo>
                      <a:lnTo>
                        <a:pt x="181" y="1807"/>
                      </a:lnTo>
                      <a:lnTo>
                        <a:pt x="194" y="1805"/>
                      </a:lnTo>
                      <a:lnTo>
                        <a:pt x="202" y="1802"/>
                      </a:lnTo>
                      <a:lnTo>
                        <a:pt x="211" y="1800"/>
                      </a:lnTo>
                      <a:lnTo>
                        <a:pt x="219" y="1800"/>
                      </a:lnTo>
                      <a:lnTo>
                        <a:pt x="224" y="1802"/>
                      </a:lnTo>
                      <a:lnTo>
                        <a:pt x="230" y="1809"/>
                      </a:lnTo>
                      <a:lnTo>
                        <a:pt x="233" y="1816"/>
                      </a:lnTo>
                      <a:lnTo>
                        <a:pt x="237" y="1817"/>
                      </a:lnTo>
                      <a:lnTo>
                        <a:pt x="235" y="1811"/>
                      </a:lnTo>
                      <a:lnTo>
                        <a:pt x="235" y="1806"/>
                      </a:lnTo>
                      <a:lnTo>
                        <a:pt x="232" y="1800"/>
                      </a:lnTo>
                      <a:lnTo>
                        <a:pt x="230" y="1796"/>
                      </a:lnTo>
                      <a:lnTo>
                        <a:pt x="233" y="1796"/>
                      </a:lnTo>
                      <a:lnTo>
                        <a:pt x="243" y="1795"/>
                      </a:lnTo>
                      <a:lnTo>
                        <a:pt x="252" y="1795"/>
                      </a:lnTo>
                      <a:lnTo>
                        <a:pt x="261" y="1794"/>
                      </a:lnTo>
                      <a:lnTo>
                        <a:pt x="265" y="1796"/>
                      </a:lnTo>
                      <a:lnTo>
                        <a:pt x="269" y="1800"/>
                      </a:lnTo>
                      <a:lnTo>
                        <a:pt x="275" y="1801"/>
                      </a:lnTo>
                      <a:lnTo>
                        <a:pt x="280" y="1798"/>
                      </a:lnTo>
                      <a:lnTo>
                        <a:pt x="285" y="1801"/>
                      </a:lnTo>
                      <a:lnTo>
                        <a:pt x="292" y="1806"/>
                      </a:lnTo>
                      <a:lnTo>
                        <a:pt x="289" y="1809"/>
                      </a:lnTo>
                      <a:lnTo>
                        <a:pt x="282" y="1809"/>
                      </a:lnTo>
                      <a:lnTo>
                        <a:pt x="269" y="1811"/>
                      </a:lnTo>
                      <a:lnTo>
                        <a:pt x="266" y="1813"/>
                      </a:lnTo>
                      <a:lnTo>
                        <a:pt x="261" y="1815"/>
                      </a:lnTo>
                      <a:lnTo>
                        <a:pt x="255" y="1815"/>
                      </a:lnTo>
                      <a:lnTo>
                        <a:pt x="252" y="1809"/>
                      </a:lnTo>
                      <a:lnTo>
                        <a:pt x="248" y="1807"/>
                      </a:lnTo>
                      <a:lnTo>
                        <a:pt x="246" y="1812"/>
                      </a:lnTo>
                      <a:lnTo>
                        <a:pt x="247" y="1819"/>
                      </a:lnTo>
                      <a:lnTo>
                        <a:pt x="243" y="1823"/>
                      </a:lnTo>
                      <a:lnTo>
                        <a:pt x="241" y="1828"/>
                      </a:lnTo>
                      <a:lnTo>
                        <a:pt x="244" y="1833"/>
                      </a:lnTo>
                      <a:lnTo>
                        <a:pt x="241" y="1842"/>
                      </a:lnTo>
                      <a:lnTo>
                        <a:pt x="236" y="1840"/>
                      </a:lnTo>
                      <a:lnTo>
                        <a:pt x="231" y="1838"/>
                      </a:lnTo>
                      <a:lnTo>
                        <a:pt x="230" y="1831"/>
                      </a:lnTo>
                      <a:lnTo>
                        <a:pt x="228" y="1827"/>
                      </a:lnTo>
                      <a:lnTo>
                        <a:pt x="224" y="1831"/>
                      </a:lnTo>
                      <a:lnTo>
                        <a:pt x="223" y="1840"/>
                      </a:lnTo>
                      <a:lnTo>
                        <a:pt x="220" y="1849"/>
                      </a:lnTo>
                      <a:lnTo>
                        <a:pt x="215" y="1852"/>
                      </a:lnTo>
                      <a:lnTo>
                        <a:pt x="204" y="1854"/>
                      </a:lnTo>
                      <a:lnTo>
                        <a:pt x="193" y="1855"/>
                      </a:lnTo>
                      <a:lnTo>
                        <a:pt x="186" y="1857"/>
                      </a:lnTo>
                      <a:lnTo>
                        <a:pt x="174" y="1860"/>
                      </a:lnTo>
                      <a:lnTo>
                        <a:pt x="168" y="1862"/>
                      </a:lnTo>
                      <a:lnTo>
                        <a:pt x="158" y="1867"/>
                      </a:lnTo>
                      <a:lnTo>
                        <a:pt x="148" y="1871"/>
                      </a:lnTo>
                      <a:lnTo>
                        <a:pt x="144" y="1874"/>
                      </a:lnTo>
                      <a:lnTo>
                        <a:pt x="139" y="1878"/>
                      </a:lnTo>
                      <a:lnTo>
                        <a:pt x="133" y="1877"/>
                      </a:lnTo>
                      <a:lnTo>
                        <a:pt x="125" y="1880"/>
                      </a:lnTo>
                      <a:lnTo>
                        <a:pt x="124" y="1887"/>
                      </a:lnTo>
                      <a:lnTo>
                        <a:pt x="122" y="1895"/>
                      </a:lnTo>
                      <a:lnTo>
                        <a:pt x="115" y="1895"/>
                      </a:lnTo>
                      <a:lnTo>
                        <a:pt x="110" y="1898"/>
                      </a:lnTo>
                      <a:lnTo>
                        <a:pt x="111" y="1901"/>
                      </a:lnTo>
                      <a:lnTo>
                        <a:pt x="116" y="1902"/>
                      </a:lnTo>
                      <a:lnTo>
                        <a:pt x="120" y="1907"/>
                      </a:lnTo>
                      <a:lnTo>
                        <a:pt x="121" y="1913"/>
                      </a:lnTo>
                      <a:lnTo>
                        <a:pt x="127" y="1917"/>
                      </a:lnTo>
                      <a:lnTo>
                        <a:pt x="127" y="1923"/>
                      </a:lnTo>
                      <a:lnTo>
                        <a:pt x="125" y="1926"/>
                      </a:lnTo>
                      <a:lnTo>
                        <a:pt x="121" y="1924"/>
                      </a:lnTo>
                      <a:lnTo>
                        <a:pt x="117" y="1927"/>
                      </a:lnTo>
                      <a:lnTo>
                        <a:pt x="112" y="1930"/>
                      </a:lnTo>
                      <a:lnTo>
                        <a:pt x="105" y="1933"/>
                      </a:lnTo>
                      <a:lnTo>
                        <a:pt x="90" y="1938"/>
                      </a:lnTo>
                      <a:lnTo>
                        <a:pt x="79" y="1939"/>
                      </a:lnTo>
                      <a:lnTo>
                        <a:pt x="82" y="1944"/>
                      </a:lnTo>
                      <a:lnTo>
                        <a:pt x="81" y="1952"/>
                      </a:lnTo>
                      <a:lnTo>
                        <a:pt x="80" y="1959"/>
                      </a:lnTo>
                      <a:lnTo>
                        <a:pt x="86" y="1962"/>
                      </a:lnTo>
                      <a:lnTo>
                        <a:pt x="94" y="1961"/>
                      </a:lnTo>
                      <a:lnTo>
                        <a:pt x="97" y="1968"/>
                      </a:lnTo>
                      <a:lnTo>
                        <a:pt x="96" y="1977"/>
                      </a:lnTo>
                      <a:lnTo>
                        <a:pt x="93" y="1982"/>
                      </a:lnTo>
                      <a:lnTo>
                        <a:pt x="91" y="1988"/>
                      </a:lnTo>
                      <a:lnTo>
                        <a:pt x="96" y="1994"/>
                      </a:lnTo>
                      <a:lnTo>
                        <a:pt x="100" y="1991"/>
                      </a:lnTo>
                      <a:lnTo>
                        <a:pt x="105" y="1986"/>
                      </a:lnTo>
                      <a:lnTo>
                        <a:pt x="111" y="1983"/>
                      </a:lnTo>
                      <a:lnTo>
                        <a:pt x="116" y="1979"/>
                      </a:lnTo>
                      <a:lnTo>
                        <a:pt x="119" y="1974"/>
                      </a:lnTo>
                      <a:lnTo>
                        <a:pt x="125" y="1968"/>
                      </a:lnTo>
                      <a:lnTo>
                        <a:pt x="131" y="1960"/>
                      </a:lnTo>
                      <a:lnTo>
                        <a:pt x="137" y="1960"/>
                      </a:lnTo>
                      <a:lnTo>
                        <a:pt x="143" y="1961"/>
                      </a:lnTo>
                      <a:lnTo>
                        <a:pt x="145" y="1966"/>
                      </a:lnTo>
                      <a:lnTo>
                        <a:pt x="151" y="1974"/>
                      </a:lnTo>
                      <a:lnTo>
                        <a:pt x="151" y="1980"/>
                      </a:lnTo>
                      <a:lnTo>
                        <a:pt x="151" y="1987"/>
                      </a:lnTo>
                      <a:lnTo>
                        <a:pt x="149" y="1994"/>
                      </a:lnTo>
                      <a:lnTo>
                        <a:pt x="141" y="1996"/>
                      </a:lnTo>
                      <a:lnTo>
                        <a:pt x="134" y="1998"/>
                      </a:lnTo>
                      <a:lnTo>
                        <a:pt x="139" y="2001"/>
                      </a:lnTo>
                      <a:lnTo>
                        <a:pt x="146" y="2003"/>
                      </a:lnTo>
                      <a:lnTo>
                        <a:pt x="151" y="2002"/>
                      </a:lnTo>
                      <a:lnTo>
                        <a:pt x="154" y="2008"/>
                      </a:lnTo>
                      <a:lnTo>
                        <a:pt x="159" y="2012"/>
                      </a:lnTo>
                      <a:lnTo>
                        <a:pt x="165" y="2012"/>
                      </a:lnTo>
                      <a:lnTo>
                        <a:pt x="165" y="2017"/>
                      </a:lnTo>
                      <a:lnTo>
                        <a:pt x="168" y="2021"/>
                      </a:lnTo>
                      <a:lnTo>
                        <a:pt x="173" y="2018"/>
                      </a:lnTo>
                      <a:lnTo>
                        <a:pt x="178" y="2014"/>
                      </a:lnTo>
                      <a:lnTo>
                        <a:pt x="185" y="2011"/>
                      </a:lnTo>
                      <a:lnTo>
                        <a:pt x="188" y="2004"/>
                      </a:lnTo>
                      <a:lnTo>
                        <a:pt x="201" y="2003"/>
                      </a:lnTo>
                      <a:lnTo>
                        <a:pt x="209" y="2002"/>
                      </a:lnTo>
                      <a:lnTo>
                        <a:pt x="215" y="1999"/>
                      </a:lnTo>
                      <a:lnTo>
                        <a:pt x="222" y="1995"/>
                      </a:lnTo>
                      <a:lnTo>
                        <a:pt x="228" y="1989"/>
                      </a:lnTo>
                      <a:lnTo>
                        <a:pt x="236" y="1987"/>
                      </a:lnTo>
                      <a:lnTo>
                        <a:pt x="244" y="1986"/>
                      </a:lnTo>
                      <a:lnTo>
                        <a:pt x="246" y="1981"/>
                      </a:lnTo>
                      <a:lnTo>
                        <a:pt x="254" y="1980"/>
                      </a:lnTo>
                      <a:lnTo>
                        <a:pt x="255" y="1984"/>
                      </a:lnTo>
                      <a:lnTo>
                        <a:pt x="258" y="1988"/>
                      </a:lnTo>
                      <a:lnTo>
                        <a:pt x="264" y="1986"/>
                      </a:lnTo>
                      <a:lnTo>
                        <a:pt x="268" y="1981"/>
                      </a:lnTo>
                      <a:lnTo>
                        <a:pt x="270" y="1977"/>
                      </a:lnTo>
                      <a:lnTo>
                        <a:pt x="275" y="1975"/>
                      </a:lnTo>
                      <a:lnTo>
                        <a:pt x="276" y="1975"/>
                      </a:lnTo>
                      <a:lnTo>
                        <a:pt x="280" y="1978"/>
                      </a:lnTo>
                      <a:lnTo>
                        <a:pt x="282" y="1975"/>
                      </a:lnTo>
                      <a:lnTo>
                        <a:pt x="285" y="1971"/>
                      </a:lnTo>
                      <a:lnTo>
                        <a:pt x="293" y="1968"/>
                      </a:lnTo>
                      <a:lnTo>
                        <a:pt x="297" y="1965"/>
                      </a:lnTo>
                      <a:lnTo>
                        <a:pt x="306" y="1963"/>
                      </a:lnTo>
                      <a:lnTo>
                        <a:pt x="313" y="1961"/>
                      </a:lnTo>
                      <a:lnTo>
                        <a:pt x="319" y="1957"/>
                      </a:lnTo>
                      <a:lnTo>
                        <a:pt x="324" y="1954"/>
                      </a:lnTo>
                      <a:lnTo>
                        <a:pt x="333" y="1954"/>
                      </a:lnTo>
                      <a:lnTo>
                        <a:pt x="344" y="1952"/>
                      </a:lnTo>
                      <a:lnTo>
                        <a:pt x="352" y="1951"/>
                      </a:lnTo>
                      <a:lnTo>
                        <a:pt x="356" y="1955"/>
                      </a:lnTo>
                      <a:lnTo>
                        <a:pt x="350" y="1956"/>
                      </a:lnTo>
                      <a:lnTo>
                        <a:pt x="343" y="1960"/>
                      </a:lnTo>
                      <a:lnTo>
                        <a:pt x="338" y="1961"/>
                      </a:lnTo>
                      <a:lnTo>
                        <a:pt x="329" y="1966"/>
                      </a:lnTo>
                      <a:lnTo>
                        <a:pt x="319" y="1969"/>
                      </a:lnTo>
                      <a:lnTo>
                        <a:pt x="307" y="1971"/>
                      </a:lnTo>
                      <a:lnTo>
                        <a:pt x="301" y="1971"/>
                      </a:lnTo>
                      <a:lnTo>
                        <a:pt x="301" y="1974"/>
                      </a:lnTo>
                      <a:lnTo>
                        <a:pt x="298" y="1980"/>
                      </a:lnTo>
                      <a:lnTo>
                        <a:pt x="294" y="1984"/>
                      </a:lnTo>
                      <a:lnTo>
                        <a:pt x="288" y="1990"/>
                      </a:lnTo>
                      <a:lnTo>
                        <a:pt x="282" y="1995"/>
                      </a:lnTo>
                      <a:lnTo>
                        <a:pt x="277" y="1999"/>
                      </a:lnTo>
                      <a:lnTo>
                        <a:pt x="280" y="2005"/>
                      </a:lnTo>
                      <a:lnTo>
                        <a:pt x="285" y="2005"/>
                      </a:lnTo>
                      <a:lnTo>
                        <a:pt x="284" y="2008"/>
                      </a:lnTo>
                      <a:lnTo>
                        <a:pt x="274" y="2009"/>
                      </a:lnTo>
                      <a:lnTo>
                        <a:pt x="269" y="2007"/>
                      </a:lnTo>
                      <a:lnTo>
                        <a:pt x="262" y="2008"/>
                      </a:lnTo>
                      <a:lnTo>
                        <a:pt x="261" y="2010"/>
                      </a:lnTo>
                      <a:lnTo>
                        <a:pt x="258" y="2013"/>
                      </a:lnTo>
                      <a:lnTo>
                        <a:pt x="258" y="2015"/>
                      </a:lnTo>
                      <a:lnTo>
                        <a:pt x="255" y="2019"/>
                      </a:lnTo>
                      <a:lnTo>
                        <a:pt x="250" y="2023"/>
                      </a:lnTo>
                      <a:lnTo>
                        <a:pt x="246" y="2022"/>
                      </a:lnTo>
                      <a:lnTo>
                        <a:pt x="248" y="2018"/>
                      </a:lnTo>
                      <a:lnTo>
                        <a:pt x="247" y="2012"/>
                      </a:lnTo>
                      <a:lnTo>
                        <a:pt x="242" y="2012"/>
                      </a:lnTo>
                      <a:lnTo>
                        <a:pt x="240" y="2017"/>
                      </a:lnTo>
                      <a:lnTo>
                        <a:pt x="231" y="2022"/>
                      </a:lnTo>
                      <a:lnTo>
                        <a:pt x="221" y="2025"/>
                      </a:lnTo>
                      <a:lnTo>
                        <a:pt x="217" y="2030"/>
                      </a:lnTo>
                      <a:lnTo>
                        <a:pt x="211" y="2033"/>
                      </a:lnTo>
                      <a:lnTo>
                        <a:pt x="211" y="2038"/>
                      </a:lnTo>
                      <a:lnTo>
                        <a:pt x="221" y="2037"/>
                      </a:lnTo>
                      <a:lnTo>
                        <a:pt x="226" y="2039"/>
                      </a:lnTo>
                      <a:lnTo>
                        <a:pt x="223" y="2046"/>
                      </a:lnTo>
                      <a:lnTo>
                        <a:pt x="222" y="2053"/>
                      </a:lnTo>
                      <a:lnTo>
                        <a:pt x="209" y="2054"/>
                      </a:lnTo>
                      <a:lnTo>
                        <a:pt x="206" y="2056"/>
                      </a:lnTo>
                      <a:lnTo>
                        <a:pt x="201" y="2059"/>
                      </a:lnTo>
                      <a:lnTo>
                        <a:pt x="192" y="2059"/>
                      </a:lnTo>
                      <a:lnTo>
                        <a:pt x="182" y="2058"/>
                      </a:lnTo>
                      <a:lnTo>
                        <a:pt x="176" y="2061"/>
                      </a:lnTo>
                      <a:lnTo>
                        <a:pt x="174" y="2064"/>
                      </a:lnTo>
                      <a:lnTo>
                        <a:pt x="179" y="2067"/>
                      </a:lnTo>
                      <a:lnTo>
                        <a:pt x="187" y="2072"/>
                      </a:lnTo>
                      <a:lnTo>
                        <a:pt x="191" y="2078"/>
                      </a:lnTo>
                      <a:lnTo>
                        <a:pt x="188" y="2085"/>
                      </a:lnTo>
                      <a:lnTo>
                        <a:pt x="179" y="2087"/>
                      </a:lnTo>
                      <a:lnTo>
                        <a:pt x="166" y="2089"/>
                      </a:lnTo>
                      <a:lnTo>
                        <a:pt x="161" y="2087"/>
                      </a:lnTo>
                      <a:lnTo>
                        <a:pt x="158" y="2091"/>
                      </a:lnTo>
                      <a:lnTo>
                        <a:pt x="157" y="2100"/>
                      </a:lnTo>
                      <a:lnTo>
                        <a:pt x="153" y="2103"/>
                      </a:lnTo>
                      <a:lnTo>
                        <a:pt x="155" y="2108"/>
                      </a:lnTo>
                      <a:lnTo>
                        <a:pt x="161" y="2104"/>
                      </a:lnTo>
                      <a:lnTo>
                        <a:pt x="165" y="2101"/>
                      </a:lnTo>
                      <a:lnTo>
                        <a:pt x="172" y="2099"/>
                      </a:lnTo>
                      <a:lnTo>
                        <a:pt x="184" y="2097"/>
                      </a:lnTo>
                      <a:lnTo>
                        <a:pt x="187" y="2101"/>
                      </a:lnTo>
                      <a:lnTo>
                        <a:pt x="197" y="2102"/>
                      </a:lnTo>
                      <a:lnTo>
                        <a:pt x="202" y="2100"/>
                      </a:lnTo>
                      <a:lnTo>
                        <a:pt x="211" y="2096"/>
                      </a:lnTo>
                      <a:lnTo>
                        <a:pt x="215" y="2091"/>
                      </a:lnTo>
                      <a:lnTo>
                        <a:pt x="219" y="2092"/>
                      </a:lnTo>
                      <a:lnTo>
                        <a:pt x="223" y="2095"/>
                      </a:lnTo>
                      <a:lnTo>
                        <a:pt x="231" y="2089"/>
                      </a:lnTo>
                      <a:lnTo>
                        <a:pt x="234" y="2084"/>
                      </a:lnTo>
                      <a:lnTo>
                        <a:pt x="234" y="2079"/>
                      </a:lnTo>
                      <a:lnTo>
                        <a:pt x="238" y="2077"/>
                      </a:lnTo>
                      <a:lnTo>
                        <a:pt x="242" y="2075"/>
                      </a:lnTo>
                      <a:lnTo>
                        <a:pt x="249" y="2072"/>
                      </a:lnTo>
                      <a:lnTo>
                        <a:pt x="252" y="2071"/>
                      </a:lnTo>
                      <a:lnTo>
                        <a:pt x="265" y="2071"/>
                      </a:lnTo>
                      <a:lnTo>
                        <a:pt x="272" y="2071"/>
                      </a:lnTo>
                      <a:lnTo>
                        <a:pt x="281" y="2071"/>
                      </a:lnTo>
                      <a:lnTo>
                        <a:pt x="285" y="2067"/>
                      </a:lnTo>
                      <a:lnTo>
                        <a:pt x="299" y="2066"/>
                      </a:lnTo>
                      <a:lnTo>
                        <a:pt x="305" y="2061"/>
                      </a:lnTo>
                      <a:lnTo>
                        <a:pt x="314" y="2061"/>
                      </a:lnTo>
                      <a:lnTo>
                        <a:pt x="318" y="2060"/>
                      </a:lnTo>
                      <a:lnTo>
                        <a:pt x="330" y="2059"/>
                      </a:lnTo>
                      <a:lnTo>
                        <a:pt x="332" y="2057"/>
                      </a:lnTo>
                      <a:lnTo>
                        <a:pt x="340" y="2055"/>
                      </a:lnTo>
                      <a:lnTo>
                        <a:pt x="348" y="2052"/>
                      </a:lnTo>
                      <a:lnTo>
                        <a:pt x="352" y="2047"/>
                      </a:lnTo>
                      <a:lnTo>
                        <a:pt x="357" y="2044"/>
                      </a:lnTo>
                      <a:lnTo>
                        <a:pt x="361" y="2041"/>
                      </a:lnTo>
                      <a:lnTo>
                        <a:pt x="366" y="2037"/>
                      </a:lnTo>
                      <a:lnTo>
                        <a:pt x="365" y="2033"/>
                      </a:lnTo>
                      <a:lnTo>
                        <a:pt x="363" y="2026"/>
                      </a:lnTo>
                      <a:lnTo>
                        <a:pt x="362" y="2018"/>
                      </a:lnTo>
                      <a:lnTo>
                        <a:pt x="367" y="2015"/>
                      </a:lnTo>
                      <a:lnTo>
                        <a:pt x="375" y="2022"/>
                      </a:lnTo>
                      <a:lnTo>
                        <a:pt x="374" y="2028"/>
                      </a:lnTo>
                      <a:lnTo>
                        <a:pt x="376" y="2034"/>
                      </a:lnTo>
                      <a:lnTo>
                        <a:pt x="382" y="2040"/>
                      </a:lnTo>
                      <a:lnTo>
                        <a:pt x="393" y="2041"/>
                      </a:lnTo>
                      <a:lnTo>
                        <a:pt x="393" y="2037"/>
                      </a:lnTo>
                      <a:lnTo>
                        <a:pt x="394" y="2032"/>
                      </a:lnTo>
                      <a:lnTo>
                        <a:pt x="398" y="2032"/>
                      </a:lnTo>
                      <a:lnTo>
                        <a:pt x="400" y="2037"/>
                      </a:lnTo>
                      <a:lnTo>
                        <a:pt x="402" y="2043"/>
                      </a:lnTo>
                      <a:lnTo>
                        <a:pt x="398" y="2049"/>
                      </a:lnTo>
                      <a:lnTo>
                        <a:pt x="398" y="2054"/>
                      </a:lnTo>
                      <a:lnTo>
                        <a:pt x="393" y="2060"/>
                      </a:lnTo>
                      <a:lnTo>
                        <a:pt x="389" y="2062"/>
                      </a:lnTo>
                      <a:lnTo>
                        <a:pt x="382" y="2065"/>
                      </a:lnTo>
                      <a:lnTo>
                        <a:pt x="377" y="2067"/>
                      </a:lnTo>
                      <a:lnTo>
                        <a:pt x="374" y="2069"/>
                      </a:lnTo>
                      <a:lnTo>
                        <a:pt x="369" y="2070"/>
                      </a:lnTo>
                      <a:lnTo>
                        <a:pt x="363" y="2070"/>
                      </a:lnTo>
                      <a:lnTo>
                        <a:pt x="358" y="2070"/>
                      </a:lnTo>
                      <a:lnTo>
                        <a:pt x="354" y="2073"/>
                      </a:lnTo>
                      <a:lnTo>
                        <a:pt x="351" y="2075"/>
                      </a:lnTo>
                      <a:lnTo>
                        <a:pt x="346" y="2078"/>
                      </a:lnTo>
                      <a:lnTo>
                        <a:pt x="341" y="2081"/>
                      </a:lnTo>
                      <a:lnTo>
                        <a:pt x="335" y="2085"/>
                      </a:lnTo>
                      <a:lnTo>
                        <a:pt x="324" y="2087"/>
                      </a:lnTo>
                      <a:lnTo>
                        <a:pt x="319" y="2092"/>
                      </a:lnTo>
                      <a:lnTo>
                        <a:pt x="314" y="2095"/>
                      </a:lnTo>
                      <a:lnTo>
                        <a:pt x="298" y="2099"/>
                      </a:lnTo>
                      <a:lnTo>
                        <a:pt x="293" y="2105"/>
                      </a:lnTo>
                      <a:lnTo>
                        <a:pt x="283" y="2111"/>
                      </a:lnTo>
                      <a:lnTo>
                        <a:pt x="283" y="2115"/>
                      </a:lnTo>
                      <a:lnTo>
                        <a:pt x="276" y="2122"/>
                      </a:lnTo>
                      <a:lnTo>
                        <a:pt x="270" y="2126"/>
                      </a:lnTo>
                      <a:lnTo>
                        <a:pt x="261" y="2130"/>
                      </a:lnTo>
                      <a:lnTo>
                        <a:pt x="265" y="2135"/>
                      </a:lnTo>
                      <a:lnTo>
                        <a:pt x="273" y="2136"/>
                      </a:lnTo>
                      <a:lnTo>
                        <a:pt x="280" y="2131"/>
                      </a:lnTo>
                      <a:lnTo>
                        <a:pt x="290" y="2126"/>
                      </a:lnTo>
                      <a:lnTo>
                        <a:pt x="296" y="2123"/>
                      </a:lnTo>
                      <a:lnTo>
                        <a:pt x="304" y="2120"/>
                      </a:lnTo>
                      <a:lnTo>
                        <a:pt x="311" y="2117"/>
                      </a:lnTo>
                      <a:lnTo>
                        <a:pt x="322" y="2113"/>
                      </a:lnTo>
                      <a:lnTo>
                        <a:pt x="329" y="2108"/>
                      </a:lnTo>
                      <a:lnTo>
                        <a:pt x="334" y="2105"/>
                      </a:lnTo>
                      <a:lnTo>
                        <a:pt x="341" y="2101"/>
                      </a:lnTo>
                      <a:lnTo>
                        <a:pt x="345" y="2098"/>
                      </a:lnTo>
                      <a:lnTo>
                        <a:pt x="353" y="2094"/>
                      </a:lnTo>
                      <a:lnTo>
                        <a:pt x="360" y="2094"/>
                      </a:lnTo>
                      <a:lnTo>
                        <a:pt x="365" y="2093"/>
                      </a:lnTo>
                      <a:lnTo>
                        <a:pt x="364" y="2098"/>
                      </a:lnTo>
                      <a:lnTo>
                        <a:pt x="360" y="2100"/>
                      </a:lnTo>
                      <a:lnTo>
                        <a:pt x="355" y="2102"/>
                      </a:lnTo>
                      <a:lnTo>
                        <a:pt x="350" y="2104"/>
                      </a:lnTo>
                      <a:lnTo>
                        <a:pt x="348" y="2110"/>
                      </a:lnTo>
                      <a:lnTo>
                        <a:pt x="339" y="2112"/>
                      </a:lnTo>
                      <a:lnTo>
                        <a:pt x="335" y="2118"/>
                      </a:lnTo>
                      <a:lnTo>
                        <a:pt x="332" y="2120"/>
                      </a:lnTo>
                      <a:lnTo>
                        <a:pt x="330" y="2130"/>
                      </a:lnTo>
                      <a:lnTo>
                        <a:pt x="321" y="2135"/>
                      </a:lnTo>
                      <a:lnTo>
                        <a:pt x="313" y="2141"/>
                      </a:lnTo>
                      <a:lnTo>
                        <a:pt x="301" y="2140"/>
                      </a:lnTo>
                      <a:lnTo>
                        <a:pt x="300" y="2146"/>
                      </a:lnTo>
                      <a:lnTo>
                        <a:pt x="293" y="2147"/>
                      </a:lnTo>
                      <a:lnTo>
                        <a:pt x="290" y="2150"/>
                      </a:lnTo>
                      <a:lnTo>
                        <a:pt x="285" y="2152"/>
                      </a:lnTo>
                      <a:lnTo>
                        <a:pt x="282" y="2158"/>
                      </a:lnTo>
                      <a:lnTo>
                        <a:pt x="274" y="2162"/>
                      </a:lnTo>
                      <a:lnTo>
                        <a:pt x="268" y="2164"/>
                      </a:lnTo>
                      <a:lnTo>
                        <a:pt x="264" y="2167"/>
                      </a:lnTo>
                      <a:lnTo>
                        <a:pt x="266" y="2171"/>
                      </a:lnTo>
                      <a:lnTo>
                        <a:pt x="271" y="2173"/>
                      </a:lnTo>
                      <a:lnTo>
                        <a:pt x="272" y="2176"/>
                      </a:lnTo>
                      <a:lnTo>
                        <a:pt x="269" y="2179"/>
                      </a:lnTo>
                      <a:lnTo>
                        <a:pt x="270" y="2182"/>
                      </a:lnTo>
                      <a:lnTo>
                        <a:pt x="271" y="2186"/>
                      </a:lnTo>
                      <a:lnTo>
                        <a:pt x="277" y="2186"/>
                      </a:lnTo>
                      <a:lnTo>
                        <a:pt x="280" y="2184"/>
                      </a:lnTo>
                      <a:lnTo>
                        <a:pt x="282" y="2179"/>
                      </a:lnTo>
                      <a:lnTo>
                        <a:pt x="286" y="2179"/>
                      </a:lnTo>
                      <a:lnTo>
                        <a:pt x="288" y="2184"/>
                      </a:lnTo>
                      <a:lnTo>
                        <a:pt x="291" y="2185"/>
                      </a:lnTo>
                      <a:lnTo>
                        <a:pt x="296" y="2182"/>
                      </a:lnTo>
                      <a:lnTo>
                        <a:pt x="304" y="2181"/>
                      </a:lnTo>
                      <a:lnTo>
                        <a:pt x="310" y="2179"/>
                      </a:lnTo>
                      <a:lnTo>
                        <a:pt x="309" y="2176"/>
                      </a:lnTo>
                      <a:lnTo>
                        <a:pt x="309" y="2171"/>
                      </a:lnTo>
                      <a:lnTo>
                        <a:pt x="311" y="2166"/>
                      </a:lnTo>
                      <a:lnTo>
                        <a:pt x="318" y="2159"/>
                      </a:lnTo>
                      <a:lnTo>
                        <a:pt x="322" y="2158"/>
                      </a:lnTo>
                      <a:lnTo>
                        <a:pt x="325" y="2155"/>
                      </a:lnTo>
                      <a:lnTo>
                        <a:pt x="325" y="2150"/>
                      </a:lnTo>
                      <a:lnTo>
                        <a:pt x="329" y="2151"/>
                      </a:lnTo>
                      <a:lnTo>
                        <a:pt x="333" y="2154"/>
                      </a:lnTo>
                      <a:lnTo>
                        <a:pt x="332" y="2159"/>
                      </a:lnTo>
                      <a:lnTo>
                        <a:pt x="336" y="2161"/>
                      </a:lnTo>
                      <a:lnTo>
                        <a:pt x="337" y="2165"/>
                      </a:lnTo>
                      <a:lnTo>
                        <a:pt x="343" y="2164"/>
                      </a:lnTo>
                      <a:lnTo>
                        <a:pt x="346" y="2161"/>
                      </a:lnTo>
                      <a:lnTo>
                        <a:pt x="346" y="2158"/>
                      </a:lnTo>
                      <a:lnTo>
                        <a:pt x="354" y="2154"/>
                      </a:lnTo>
                      <a:lnTo>
                        <a:pt x="358" y="2157"/>
                      </a:lnTo>
                      <a:lnTo>
                        <a:pt x="364" y="2154"/>
                      </a:lnTo>
                      <a:lnTo>
                        <a:pt x="363" y="2149"/>
                      </a:lnTo>
                      <a:lnTo>
                        <a:pt x="364" y="2143"/>
                      </a:lnTo>
                      <a:lnTo>
                        <a:pt x="369" y="2146"/>
                      </a:lnTo>
                      <a:lnTo>
                        <a:pt x="371" y="2151"/>
                      </a:lnTo>
                      <a:lnTo>
                        <a:pt x="378" y="2151"/>
                      </a:lnTo>
                      <a:lnTo>
                        <a:pt x="381" y="2148"/>
                      </a:lnTo>
                      <a:lnTo>
                        <a:pt x="385" y="2143"/>
                      </a:lnTo>
                      <a:lnTo>
                        <a:pt x="392" y="2143"/>
                      </a:lnTo>
                      <a:lnTo>
                        <a:pt x="397" y="2143"/>
                      </a:lnTo>
                      <a:lnTo>
                        <a:pt x="400" y="2139"/>
                      </a:lnTo>
                      <a:lnTo>
                        <a:pt x="401" y="2135"/>
                      </a:lnTo>
                      <a:lnTo>
                        <a:pt x="398" y="2130"/>
                      </a:lnTo>
                      <a:lnTo>
                        <a:pt x="395" y="2126"/>
                      </a:lnTo>
                      <a:lnTo>
                        <a:pt x="399" y="2125"/>
                      </a:lnTo>
                      <a:lnTo>
                        <a:pt x="404" y="2128"/>
                      </a:lnTo>
                      <a:lnTo>
                        <a:pt x="408" y="2132"/>
                      </a:lnTo>
                      <a:lnTo>
                        <a:pt x="414" y="2134"/>
                      </a:lnTo>
                      <a:lnTo>
                        <a:pt x="416" y="2138"/>
                      </a:lnTo>
                      <a:lnTo>
                        <a:pt x="414" y="2142"/>
                      </a:lnTo>
                      <a:lnTo>
                        <a:pt x="408" y="2147"/>
                      </a:lnTo>
                      <a:lnTo>
                        <a:pt x="409" y="2153"/>
                      </a:lnTo>
                      <a:lnTo>
                        <a:pt x="412" y="2154"/>
                      </a:lnTo>
                      <a:lnTo>
                        <a:pt x="411" y="2159"/>
                      </a:lnTo>
                      <a:lnTo>
                        <a:pt x="411" y="2165"/>
                      </a:lnTo>
                      <a:lnTo>
                        <a:pt x="417" y="2165"/>
                      </a:lnTo>
                      <a:lnTo>
                        <a:pt x="421" y="2167"/>
                      </a:lnTo>
                      <a:lnTo>
                        <a:pt x="421" y="2171"/>
                      </a:lnTo>
                      <a:lnTo>
                        <a:pt x="422" y="2176"/>
                      </a:lnTo>
                      <a:lnTo>
                        <a:pt x="430" y="2176"/>
                      </a:lnTo>
                      <a:lnTo>
                        <a:pt x="435" y="2174"/>
                      </a:lnTo>
                      <a:lnTo>
                        <a:pt x="444" y="2169"/>
                      </a:lnTo>
                      <a:lnTo>
                        <a:pt x="451" y="2167"/>
                      </a:lnTo>
                      <a:lnTo>
                        <a:pt x="451" y="2162"/>
                      </a:lnTo>
                      <a:lnTo>
                        <a:pt x="455" y="2161"/>
                      </a:lnTo>
                      <a:lnTo>
                        <a:pt x="461" y="2161"/>
                      </a:lnTo>
                      <a:lnTo>
                        <a:pt x="462" y="2167"/>
                      </a:lnTo>
                      <a:lnTo>
                        <a:pt x="469" y="2169"/>
                      </a:lnTo>
                      <a:lnTo>
                        <a:pt x="472" y="2172"/>
                      </a:lnTo>
                      <a:lnTo>
                        <a:pt x="476" y="2169"/>
                      </a:lnTo>
                      <a:lnTo>
                        <a:pt x="479" y="2161"/>
                      </a:lnTo>
                      <a:lnTo>
                        <a:pt x="485" y="2162"/>
                      </a:lnTo>
                      <a:lnTo>
                        <a:pt x="490" y="2160"/>
                      </a:lnTo>
                      <a:lnTo>
                        <a:pt x="488" y="2155"/>
                      </a:lnTo>
                      <a:lnTo>
                        <a:pt x="487" y="2148"/>
                      </a:lnTo>
                      <a:lnTo>
                        <a:pt x="493" y="2146"/>
                      </a:lnTo>
                      <a:lnTo>
                        <a:pt x="496" y="2152"/>
                      </a:lnTo>
                      <a:lnTo>
                        <a:pt x="502" y="2151"/>
                      </a:lnTo>
                      <a:lnTo>
                        <a:pt x="511" y="2146"/>
                      </a:lnTo>
                      <a:lnTo>
                        <a:pt x="516" y="2142"/>
                      </a:lnTo>
                      <a:lnTo>
                        <a:pt x="519" y="2138"/>
                      </a:lnTo>
                      <a:lnTo>
                        <a:pt x="514" y="2132"/>
                      </a:lnTo>
                      <a:lnTo>
                        <a:pt x="509" y="2128"/>
                      </a:lnTo>
                      <a:lnTo>
                        <a:pt x="509" y="2124"/>
                      </a:lnTo>
                      <a:lnTo>
                        <a:pt x="513" y="2122"/>
                      </a:lnTo>
                      <a:lnTo>
                        <a:pt x="519" y="2124"/>
                      </a:lnTo>
                      <a:lnTo>
                        <a:pt x="524" y="2127"/>
                      </a:lnTo>
                      <a:lnTo>
                        <a:pt x="529" y="2129"/>
                      </a:lnTo>
                      <a:lnTo>
                        <a:pt x="536" y="2127"/>
                      </a:lnTo>
                      <a:lnTo>
                        <a:pt x="542" y="2128"/>
                      </a:lnTo>
                      <a:lnTo>
                        <a:pt x="547" y="2126"/>
                      </a:lnTo>
                      <a:lnTo>
                        <a:pt x="551" y="2124"/>
                      </a:lnTo>
                      <a:lnTo>
                        <a:pt x="555" y="2122"/>
                      </a:lnTo>
                      <a:lnTo>
                        <a:pt x="560" y="2125"/>
                      </a:lnTo>
                      <a:lnTo>
                        <a:pt x="565" y="2129"/>
                      </a:lnTo>
                      <a:lnTo>
                        <a:pt x="569" y="2132"/>
                      </a:lnTo>
                      <a:lnTo>
                        <a:pt x="570" y="2139"/>
                      </a:lnTo>
                      <a:lnTo>
                        <a:pt x="572" y="2144"/>
                      </a:lnTo>
                      <a:lnTo>
                        <a:pt x="575" y="2145"/>
                      </a:lnTo>
                      <a:lnTo>
                        <a:pt x="576" y="2142"/>
                      </a:lnTo>
                      <a:lnTo>
                        <a:pt x="579" y="2137"/>
                      </a:lnTo>
                      <a:lnTo>
                        <a:pt x="583" y="2135"/>
                      </a:lnTo>
                      <a:lnTo>
                        <a:pt x="588" y="2136"/>
                      </a:lnTo>
                      <a:lnTo>
                        <a:pt x="593" y="2134"/>
                      </a:lnTo>
                      <a:lnTo>
                        <a:pt x="593" y="2128"/>
                      </a:lnTo>
                      <a:lnTo>
                        <a:pt x="596" y="2124"/>
                      </a:lnTo>
                      <a:lnTo>
                        <a:pt x="601" y="2122"/>
                      </a:lnTo>
                      <a:lnTo>
                        <a:pt x="601" y="2118"/>
                      </a:lnTo>
                      <a:lnTo>
                        <a:pt x="604" y="2113"/>
                      </a:lnTo>
                      <a:lnTo>
                        <a:pt x="611" y="2112"/>
                      </a:lnTo>
                      <a:lnTo>
                        <a:pt x="617" y="2112"/>
                      </a:lnTo>
                      <a:lnTo>
                        <a:pt x="623" y="2114"/>
                      </a:lnTo>
                      <a:lnTo>
                        <a:pt x="632" y="2117"/>
                      </a:lnTo>
                      <a:lnTo>
                        <a:pt x="632" y="2114"/>
                      </a:lnTo>
                      <a:lnTo>
                        <a:pt x="636" y="2115"/>
                      </a:lnTo>
                      <a:lnTo>
                        <a:pt x="639" y="2118"/>
                      </a:lnTo>
                      <a:lnTo>
                        <a:pt x="638" y="2123"/>
                      </a:lnTo>
                      <a:lnTo>
                        <a:pt x="644" y="2123"/>
                      </a:lnTo>
                      <a:lnTo>
                        <a:pt x="646" y="2120"/>
                      </a:lnTo>
                      <a:lnTo>
                        <a:pt x="650" y="2123"/>
                      </a:lnTo>
                      <a:lnTo>
                        <a:pt x="657" y="2123"/>
                      </a:lnTo>
                      <a:lnTo>
                        <a:pt x="660" y="2125"/>
                      </a:lnTo>
                      <a:lnTo>
                        <a:pt x="663" y="2120"/>
                      </a:lnTo>
                      <a:lnTo>
                        <a:pt x="662" y="2116"/>
                      </a:lnTo>
                      <a:lnTo>
                        <a:pt x="661" y="2110"/>
                      </a:lnTo>
                      <a:lnTo>
                        <a:pt x="664" y="2106"/>
                      </a:lnTo>
                      <a:lnTo>
                        <a:pt x="664" y="2102"/>
                      </a:lnTo>
                      <a:lnTo>
                        <a:pt x="662" y="2095"/>
                      </a:lnTo>
                      <a:lnTo>
                        <a:pt x="666" y="2089"/>
                      </a:lnTo>
                      <a:lnTo>
                        <a:pt x="676" y="2086"/>
                      </a:lnTo>
                      <a:lnTo>
                        <a:pt x="682" y="2085"/>
                      </a:lnTo>
                      <a:lnTo>
                        <a:pt x="695" y="2086"/>
                      </a:lnTo>
                      <a:lnTo>
                        <a:pt x="702" y="2087"/>
                      </a:lnTo>
                      <a:lnTo>
                        <a:pt x="706" y="2088"/>
                      </a:lnTo>
                      <a:lnTo>
                        <a:pt x="710" y="2097"/>
                      </a:lnTo>
                      <a:lnTo>
                        <a:pt x="713" y="2104"/>
                      </a:lnTo>
                      <a:lnTo>
                        <a:pt x="717" y="2104"/>
                      </a:lnTo>
                      <a:lnTo>
                        <a:pt x="716" y="2097"/>
                      </a:lnTo>
                      <a:lnTo>
                        <a:pt x="715" y="2091"/>
                      </a:lnTo>
                      <a:lnTo>
                        <a:pt x="713" y="2085"/>
                      </a:lnTo>
                      <a:lnTo>
                        <a:pt x="713" y="2077"/>
                      </a:lnTo>
                      <a:lnTo>
                        <a:pt x="716" y="2071"/>
                      </a:lnTo>
                      <a:lnTo>
                        <a:pt x="718" y="2064"/>
                      </a:lnTo>
                      <a:lnTo>
                        <a:pt x="723" y="2061"/>
                      </a:lnTo>
                      <a:lnTo>
                        <a:pt x="723" y="2055"/>
                      </a:lnTo>
                      <a:lnTo>
                        <a:pt x="718" y="2053"/>
                      </a:lnTo>
                      <a:lnTo>
                        <a:pt x="720" y="2047"/>
                      </a:lnTo>
                      <a:lnTo>
                        <a:pt x="727" y="2052"/>
                      </a:lnTo>
                      <a:lnTo>
                        <a:pt x="728" y="2057"/>
                      </a:lnTo>
                      <a:lnTo>
                        <a:pt x="727" y="2063"/>
                      </a:lnTo>
                      <a:lnTo>
                        <a:pt x="738" y="2063"/>
                      </a:lnTo>
                      <a:lnTo>
                        <a:pt x="742" y="2057"/>
                      </a:lnTo>
                      <a:lnTo>
                        <a:pt x="744" y="2059"/>
                      </a:lnTo>
                      <a:lnTo>
                        <a:pt x="749" y="2057"/>
                      </a:lnTo>
                      <a:lnTo>
                        <a:pt x="751" y="2051"/>
                      </a:lnTo>
                      <a:lnTo>
                        <a:pt x="755" y="2052"/>
                      </a:lnTo>
                      <a:lnTo>
                        <a:pt x="765" y="2050"/>
                      </a:lnTo>
                      <a:lnTo>
                        <a:pt x="767" y="2046"/>
                      </a:lnTo>
                      <a:lnTo>
                        <a:pt x="773" y="2044"/>
                      </a:lnTo>
                      <a:lnTo>
                        <a:pt x="782" y="2043"/>
                      </a:lnTo>
                      <a:lnTo>
                        <a:pt x="781" y="2037"/>
                      </a:lnTo>
                      <a:lnTo>
                        <a:pt x="786" y="2033"/>
                      </a:lnTo>
                      <a:lnTo>
                        <a:pt x="792" y="2030"/>
                      </a:lnTo>
                      <a:lnTo>
                        <a:pt x="793" y="2027"/>
                      </a:lnTo>
                      <a:lnTo>
                        <a:pt x="794" y="2024"/>
                      </a:lnTo>
                      <a:lnTo>
                        <a:pt x="795" y="2021"/>
                      </a:lnTo>
                      <a:lnTo>
                        <a:pt x="797" y="2019"/>
                      </a:lnTo>
                      <a:lnTo>
                        <a:pt x="797" y="2012"/>
                      </a:lnTo>
                      <a:lnTo>
                        <a:pt x="794" y="2009"/>
                      </a:lnTo>
                      <a:lnTo>
                        <a:pt x="798" y="2004"/>
                      </a:lnTo>
                      <a:lnTo>
                        <a:pt x="802" y="2001"/>
                      </a:lnTo>
                      <a:lnTo>
                        <a:pt x="802" y="1995"/>
                      </a:lnTo>
                      <a:lnTo>
                        <a:pt x="803" y="1990"/>
                      </a:lnTo>
                      <a:lnTo>
                        <a:pt x="799" y="1988"/>
                      </a:lnTo>
                      <a:lnTo>
                        <a:pt x="797" y="1982"/>
                      </a:lnTo>
                      <a:lnTo>
                        <a:pt x="797" y="1977"/>
                      </a:lnTo>
                      <a:lnTo>
                        <a:pt x="792" y="1974"/>
                      </a:lnTo>
                      <a:lnTo>
                        <a:pt x="791" y="1968"/>
                      </a:lnTo>
                      <a:lnTo>
                        <a:pt x="790" y="1962"/>
                      </a:lnTo>
                      <a:lnTo>
                        <a:pt x="785" y="1961"/>
                      </a:lnTo>
                      <a:lnTo>
                        <a:pt x="774" y="1960"/>
                      </a:lnTo>
                      <a:lnTo>
                        <a:pt x="764" y="1962"/>
                      </a:lnTo>
                      <a:lnTo>
                        <a:pt x="760" y="1958"/>
                      </a:lnTo>
                      <a:lnTo>
                        <a:pt x="764" y="1955"/>
                      </a:lnTo>
                      <a:lnTo>
                        <a:pt x="763" y="1950"/>
                      </a:lnTo>
                      <a:lnTo>
                        <a:pt x="768" y="1947"/>
                      </a:lnTo>
                      <a:lnTo>
                        <a:pt x="774" y="1950"/>
                      </a:lnTo>
                      <a:lnTo>
                        <a:pt x="781" y="1953"/>
                      </a:lnTo>
                      <a:lnTo>
                        <a:pt x="788" y="1953"/>
                      </a:lnTo>
                      <a:lnTo>
                        <a:pt x="794" y="1956"/>
                      </a:lnTo>
                      <a:lnTo>
                        <a:pt x="798" y="1959"/>
                      </a:lnTo>
                      <a:lnTo>
                        <a:pt x="803" y="1957"/>
                      </a:lnTo>
                      <a:lnTo>
                        <a:pt x="808" y="1954"/>
                      </a:lnTo>
                      <a:lnTo>
                        <a:pt x="813" y="1953"/>
                      </a:lnTo>
                      <a:lnTo>
                        <a:pt x="822" y="1954"/>
                      </a:lnTo>
                      <a:lnTo>
                        <a:pt x="829" y="1953"/>
                      </a:lnTo>
                      <a:lnTo>
                        <a:pt x="835" y="1950"/>
                      </a:lnTo>
                      <a:lnTo>
                        <a:pt x="840" y="1950"/>
                      </a:lnTo>
                      <a:lnTo>
                        <a:pt x="840" y="1955"/>
                      </a:lnTo>
                      <a:lnTo>
                        <a:pt x="839" y="1958"/>
                      </a:lnTo>
                      <a:lnTo>
                        <a:pt x="837" y="1964"/>
                      </a:lnTo>
                      <a:lnTo>
                        <a:pt x="832" y="1970"/>
                      </a:lnTo>
                      <a:lnTo>
                        <a:pt x="827" y="1972"/>
                      </a:lnTo>
                      <a:lnTo>
                        <a:pt x="824" y="1975"/>
                      </a:lnTo>
                      <a:lnTo>
                        <a:pt x="820" y="1979"/>
                      </a:lnTo>
                      <a:lnTo>
                        <a:pt x="812" y="1983"/>
                      </a:lnTo>
                      <a:lnTo>
                        <a:pt x="810" y="1988"/>
                      </a:lnTo>
                      <a:lnTo>
                        <a:pt x="813" y="1992"/>
                      </a:lnTo>
                      <a:lnTo>
                        <a:pt x="814" y="1996"/>
                      </a:lnTo>
                      <a:lnTo>
                        <a:pt x="816" y="1998"/>
                      </a:lnTo>
                      <a:lnTo>
                        <a:pt x="823" y="1998"/>
                      </a:lnTo>
                      <a:lnTo>
                        <a:pt x="830" y="1998"/>
                      </a:lnTo>
                      <a:lnTo>
                        <a:pt x="837" y="1998"/>
                      </a:lnTo>
                      <a:lnTo>
                        <a:pt x="838" y="2000"/>
                      </a:lnTo>
                      <a:lnTo>
                        <a:pt x="843" y="2001"/>
                      </a:lnTo>
                      <a:lnTo>
                        <a:pt x="849" y="1997"/>
                      </a:lnTo>
                      <a:lnTo>
                        <a:pt x="854" y="1992"/>
                      </a:lnTo>
                      <a:lnTo>
                        <a:pt x="861" y="1990"/>
                      </a:lnTo>
                      <a:lnTo>
                        <a:pt x="867" y="1989"/>
                      </a:lnTo>
                      <a:lnTo>
                        <a:pt x="874" y="1990"/>
                      </a:lnTo>
                      <a:lnTo>
                        <a:pt x="883" y="1987"/>
                      </a:lnTo>
                      <a:lnTo>
                        <a:pt x="896" y="1985"/>
                      </a:lnTo>
                      <a:lnTo>
                        <a:pt x="896" y="1979"/>
                      </a:lnTo>
                      <a:lnTo>
                        <a:pt x="892" y="1975"/>
                      </a:lnTo>
                      <a:lnTo>
                        <a:pt x="893" y="1967"/>
                      </a:lnTo>
                      <a:lnTo>
                        <a:pt x="906" y="1960"/>
                      </a:lnTo>
                      <a:lnTo>
                        <a:pt x="917" y="1955"/>
                      </a:lnTo>
                      <a:lnTo>
                        <a:pt x="932" y="1955"/>
                      </a:lnTo>
                      <a:lnTo>
                        <a:pt x="940" y="1953"/>
                      </a:lnTo>
                      <a:lnTo>
                        <a:pt x="940" y="1948"/>
                      </a:lnTo>
                      <a:lnTo>
                        <a:pt x="935" y="1944"/>
                      </a:lnTo>
                      <a:lnTo>
                        <a:pt x="929" y="1939"/>
                      </a:lnTo>
                      <a:lnTo>
                        <a:pt x="929" y="1935"/>
                      </a:lnTo>
                      <a:lnTo>
                        <a:pt x="934" y="1936"/>
                      </a:lnTo>
                      <a:lnTo>
                        <a:pt x="940" y="1933"/>
                      </a:lnTo>
                      <a:lnTo>
                        <a:pt x="941" y="1929"/>
                      </a:lnTo>
                      <a:lnTo>
                        <a:pt x="944" y="1922"/>
                      </a:lnTo>
                      <a:lnTo>
                        <a:pt x="948" y="1918"/>
                      </a:lnTo>
                      <a:lnTo>
                        <a:pt x="950" y="1914"/>
                      </a:lnTo>
                      <a:lnTo>
                        <a:pt x="956" y="1913"/>
                      </a:lnTo>
                      <a:lnTo>
                        <a:pt x="960" y="1915"/>
                      </a:lnTo>
                      <a:lnTo>
                        <a:pt x="963" y="1916"/>
                      </a:lnTo>
                      <a:lnTo>
                        <a:pt x="966" y="1912"/>
                      </a:lnTo>
                      <a:lnTo>
                        <a:pt x="974" y="1911"/>
                      </a:lnTo>
                      <a:lnTo>
                        <a:pt x="977" y="1916"/>
                      </a:lnTo>
                      <a:lnTo>
                        <a:pt x="986" y="1918"/>
                      </a:lnTo>
                      <a:lnTo>
                        <a:pt x="995" y="1916"/>
                      </a:lnTo>
                      <a:lnTo>
                        <a:pt x="995" y="1909"/>
                      </a:lnTo>
                      <a:lnTo>
                        <a:pt x="998" y="1902"/>
                      </a:lnTo>
                      <a:lnTo>
                        <a:pt x="1003" y="1898"/>
                      </a:lnTo>
                      <a:lnTo>
                        <a:pt x="1006" y="1897"/>
                      </a:lnTo>
                      <a:lnTo>
                        <a:pt x="1016" y="1896"/>
                      </a:lnTo>
                      <a:lnTo>
                        <a:pt x="1022" y="1894"/>
                      </a:lnTo>
                      <a:lnTo>
                        <a:pt x="1027" y="1891"/>
                      </a:lnTo>
                      <a:lnTo>
                        <a:pt x="1033" y="1890"/>
                      </a:lnTo>
                      <a:lnTo>
                        <a:pt x="1038" y="1887"/>
                      </a:lnTo>
                      <a:lnTo>
                        <a:pt x="1044" y="1883"/>
                      </a:lnTo>
                      <a:lnTo>
                        <a:pt x="1041" y="1872"/>
                      </a:lnTo>
                      <a:lnTo>
                        <a:pt x="1049" y="1864"/>
                      </a:lnTo>
                      <a:lnTo>
                        <a:pt x="1054" y="1860"/>
                      </a:lnTo>
                      <a:lnTo>
                        <a:pt x="1057" y="1856"/>
                      </a:lnTo>
                      <a:lnTo>
                        <a:pt x="1056" y="1852"/>
                      </a:lnTo>
                      <a:lnTo>
                        <a:pt x="1053" y="1851"/>
                      </a:lnTo>
                      <a:lnTo>
                        <a:pt x="1045" y="1852"/>
                      </a:lnTo>
                      <a:lnTo>
                        <a:pt x="1039" y="1850"/>
                      </a:lnTo>
                      <a:lnTo>
                        <a:pt x="1035" y="1844"/>
                      </a:lnTo>
                      <a:lnTo>
                        <a:pt x="1032" y="1840"/>
                      </a:lnTo>
                      <a:lnTo>
                        <a:pt x="1037" y="1834"/>
                      </a:lnTo>
                      <a:lnTo>
                        <a:pt x="1042" y="1831"/>
                      </a:lnTo>
                      <a:lnTo>
                        <a:pt x="1044" y="1836"/>
                      </a:lnTo>
                      <a:lnTo>
                        <a:pt x="1049" y="1840"/>
                      </a:lnTo>
                      <a:lnTo>
                        <a:pt x="1052" y="1837"/>
                      </a:lnTo>
                      <a:lnTo>
                        <a:pt x="1058" y="1831"/>
                      </a:lnTo>
                      <a:lnTo>
                        <a:pt x="1063" y="1829"/>
                      </a:lnTo>
                      <a:lnTo>
                        <a:pt x="1068" y="1829"/>
                      </a:lnTo>
                      <a:lnTo>
                        <a:pt x="1073" y="1825"/>
                      </a:lnTo>
                      <a:lnTo>
                        <a:pt x="1080" y="1820"/>
                      </a:lnTo>
                      <a:lnTo>
                        <a:pt x="1088" y="1815"/>
                      </a:lnTo>
                      <a:lnTo>
                        <a:pt x="1101" y="1813"/>
                      </a:lnTo>
                      <a:lnTo>
                        <a:pt x="1109" y="1814"/>
                      </a:lnTo>
                      <a:lnTo>
                        <a:pt x="1115" y="1811"/>
                      </a:lnTo>
                      <a:lnTo>
                        <a:pt x="1123" y="1810"/>
                      </a:lnTo>
                      <a:lnTo>
                        <a:pt x="1138" y="1810"/>
                      </a:lnTo>
                      <a:lnTo>
                        <a:pt x="1147" y="1807"/>
                      </a:lnTo>
                      <a:lnTo>
                        <a:pt x="1152" y="1807"/>
                      </a:lnTo>
                      <a:lnTo>
                        <a:pt x="1160" y="1809"/>
                      </a:lnTo>
                      <a:lnTo>
                        <a:pt x="1171" y="1810"/>
                      </a:lnTo>
                      <a:lnTo>
                        <a:pt x="1177" y="1810"/>
                      </a:lnTo>
                      <a:lnTo>
                        <a:pt x="1182" y="1809"/>
                      </a:lnTo>
                      <a:lnTo>
                        <a:pt x="1185" y="1806"/>
                      </a:lnTo>
                      <a:lnTo>
                        <a:pt x="1188" y="1802"/>
                      </a:lnTo>
                      <a:lnTo>
                        <a:pt x="1189" y="1798"/>
                      </a:lnTo>
                      <a:lnTo>
                        <a:pt x="1195" y="1797"/>
                      </a:lnTo>
                      <a:lnTo>
                        <a:pt x="1201" y="1801"/>
                      </a:lnTo>
                      <a:lnTo>
                        <a:pt x="1206" y="1801"/>
                      </a:lnTo>
                      <a:lnTo>
                        <a:pt x="1205" y="1797"/>
                      </a:lnTo>
                      <a:lnTo>
                        <a:pt x="1202" y="1792"/>
                      </a:lnTo>
                      <a:lnTo>
                        <a:pt x="1203" y="1787"/>
                      </a:lnTo>
                      <a:lnTo>
                        <a:pt x="1209" y="1786"/>
                      </a:lnTo>
                      <a:lnTo>
                        <a:pt x="1215" y="1789"/>
                      </a:lnTo>
                      <a:lnTo>
                        <a:pt x="1217" y="1792"/>
                      </a:lnTo>
                      <a:lnTo>
                        <a:pt x="1217" y="1798"/>
                      </a:lnTo>
                      <a:lnTo>
                        <a:pt x="1213" y="1802"/>
                      </a:lnTo>
                      <a:lnTo>
                        <a:pt x="1209" y="1806"/>
                      </a:lnTo>
                      <a:lnTo>
                        <a:pt x="1210" y="1809"/>
                      </a:lnTo>
                      <a:lnTo>
                        <a:pt x="1215" y="1809"/>
                      </a:lnTo>
                      <a:lnTo>
                        <a:pt x="1218" y="1808"/>
                      </a:lnTo>
                      <a:lnTo>
                        <a:pt x="1223" y="1807"/>
                      </a:lnTo>
                      <a:lnTo>
                        <a:pt x="1229" y="1807"/>
                      </a:lnTo>
                      <a:lnTo>
                        <a:pt x="1237" y="1808"/>
                      </a:lnTo>
                      <a:lnTo>
                        <a:pt x="1242" y="1806"/>
                      </a:lnTo>
                      <a:lnTo>
                        <a:pt x="1245" y="1799"/>
                      </a:lnTo>
                      <a:lnTo>
                        <a:pt x="1248" y="1795"/>
                      </a:lnTo>
                      <a:lnTo>
                        <a:pt x="1253" y="1789"/>
                      </a:lnTo>
                      <a:lnTo>
                        <a:pt x="1257" y="1786"/>
                      </a:lnTo>
                      <a:lnTo>
                        <a:pt x="1258" y="1783"/>
                      </a:lnTo>
                      <a:lnTo>
                        <a:pt x="1254" y="1780"/>
                      </a:lnTo>
                      <a:lnTo>
                        <a:pt x="1249" y="1775"/>
                      </a:lnTo>
                      <a:lnTo>
                        <a:pt x="1249" y="1773"/>
                      </a:lnTo>
                      <a:lnTo>
                        <a:pt x="1250" y="1768"/>
                      </a:lnTo>
                      <a:lnTo>
                        <a:pt x="1251" y="1763"/>
                      </a:lnTo>
                      <a:lnTo>
                        <a:pt x="1251" y="1760"/>
                      </a:lnTo>
                      <a:lnTo>
                        <a:pt x="1252" y="1758"/>
                      </a:lnTo>
                      <a:lnTo>
                        <a:pt x="1251" y="1752"/>
                      </a:lnTo>
                      <a:lnTo>
                        <a:pt x="1248" y="1748"/>
                      </a:lnTo>
                      <a:lnTo>
                        <a:pt x="1246" y="1743"/>
                      </a:lnTo>
                      <a:lnTo>
                        <a:pt x="1247" y="1735"/>
                      </a:lnTo>
                      <a:lnTo>
                        <a:pt x="1245" y="1731"/>
                      </a:lnTo>
                      <a:lnTo>
                        <a:pt x="1245" y="1729"/>
                      </a:lnTo>
                      <a:lnTo>
                        <a:pt x="1245" y="1725"/>
                      </a:lnTo>
                      <a:lnTo>
                        <a:pt x="1250" y="1727"/>
                      </a:lnTo>
                      <a:lnTo>
                        <a:pt x="1252" y="1731"/>
                      </a:lnTo>
                      <a:lnTo>
                        <a:pt x="1252" y="1738"/>
                      </a:lnTo>
                      <a:lnTo>
                        <a:pt x="1253" y="1746"/>
                      </a:lnTo>
                      <a:lnTo>
                        <a:pt x="1259" y="1750"/>
                      </a:lnTo>
                      <a:lnTo>
                        <a:pt x="1262" y="1754"/>
                      </a:lnTo>
                      <a:lnTo>
                        <a:pt x="1266" y="1758"/>
                      </a:lnTo>
                      <a:lnTo>
                        <a:pt x="1268" y="1764"/>
                      </a:lnTo>
                      <a:lnTo>
                        <a:pt x="1272" y="1768"/>
                      </a:lnTo>
                      <a:lnTo>
                        <a:pt x="1272" y="1773"/>
                      </a:lnTo>
                      <a:lnTo>
                        <a:pt x="1274" y="1782"/>
                      </a:lnTo>
                      <a:lnTo>
                        <a:pt x="1277" y="1788"/>
                      </a:lnTo>
                      <a:lnTo>
                        <a:pt x="1276" y="1793"/>
                      </a:lnTo>
                      <a:lnTo>
                        <a:pt x="1272" y="1799"/>
                      </a:lnTo>
                      <a:lnTo>
                        <a:pt x="1266" y="1803"/>
                      </a:lnTo>
                      <a:lnTo>
                        <a:pt x="1261" y="1806"/>
                      </a:lnTo>
                      <a:lnTo>
                        <a:pt x="1262" y="1812"/>
                      </a:lnTo>
                      <a:lnTo>
                        <a:pt x="1265" y="1815"/>
                      </a:lnTo>
                      <a:lnTo>
                        <a:pt x="1269" y="1813"/>
                      </a:lnTo>
                      <a:lnTo>
                        <a:pt x="1274" y="1808"/>
                      </a:lnTo>
                      <a:lnTo>
                        <a:pt x="1277" y="1802"/>
                      </a:lnTo>
                      <a:lnTo>
                        <a:pt x="1281" y="1796"/>
                      </a:lnTo>
                      <a:lnTo>
                        <a:pt x="1284" y="1792"/>
                      </a:lnTo>
                      <a:lnTo>
                        <a:pt x="1290" y="1790"/>
                      </a:lnTo>
                      <a:lnTo>
                        <a:pt x="1294" y="1786"/>
                      </a:lnTo>
                      <a:lnTo>
                        <a:pt x="1298" y="1786"/>
                      </a:lnTo>
                      <a:lnTo>
                        <a:pt x="1301" y="1786"/>
                      </a:lnTo>
                      <a:lnTo>
                        <a:pt x="1304" y="1782"/>
                      </a:lnTo>
                      <a:lnTo>
                        <a:pt x="1306" y="1776"/>
                      </a:lnTo>
                      <a:lnTo>
                        <a:pt x="1302" y="1774"/>
                      </a:lnTo>
                      <a:lnTo>
                        <a:pt x="1303" y="1769"/>
                      </a:lnTo>
                      <a:lnTo>
                        <a:pt x="1308" y="1767"/>
                      </a:lnTo>
                      <a:lnTo>
                        <a:pt x="1308" y="1763"/>
                      </a:lnTo>
                      <a:lnTo>
                        <a:pt x="1304" y="1763"/>
                      </a:lnTo>
                      <a:lnTo>
                        <a:pt x="1299" y="1762"/>
                      </a:lnTo>
                      <a:lnTo>
                        <a:pt x="1299" y="1756"/>
                      </a:lnTo>
                      <a:lnTo>
                        <a:pt x="1300" y="1751"/>
                      </a:lnTo>
                      <a:lnTo>
                        <a:pt x="1303" y="1752"/>
                      </a:lnTo>
                      <a:lnTo>
                        <a:pt x="1307" y="1752"/>
                      </a:lnTo>
                      <a:lnTo>
                        <a:pt x="1311" y="1749"/>
                      </a:lnTo>
                      <a:lnTo>
                        <a:pt x="1315" y="1747"/>
                      </a:lnTo>
                      <a:lnTo>
                        <a:pt x="1317" y="1741"/>
                      </a:lnTo>
                      <a:lnTo>
                        <a:pt x="1322" y="1737"/>
                      </a:lnTo>
                      <a:lnTo>
                        <a:pt x="1323" y="1740"/>
                      </a:lnTo>
                      <a:lnTo>
                        <a:pt x="1324" y="1744"/>
                      </a:lnTo>
                      <a:lnTo>
                        <a:pt x="1323" y="1748"/>
                      </a:lnTo>
                      <a:lnTo>
                        <a:pt x="1319" y="1752"/>
                      </a:lnTo>
                      <a:lnTo>
                        <a:pt x="1316" y="1758"/>
                      </a:lnTo>
                      <a:lnTo>
                        <a:pt x="1312" y="1760"/>
                      </a:lnTo>
                      <a:lnTo>
                        <a:pt x="1310" y="1763"/>
                      </a:lnTo>
                      <a:lnTo>
                        <a:pt x="1313" y="1766"/>
                      </a:lnTo>
                      <a:lnTo>
                        <a:pt x="1317" y="1766"/>
                      </a:lnTo>
                      <a:lnTo>
                        <a:pt x="1321" y="1764"/>
                      </a:lnTo>
                      <a:lnTo>
                        <a:pt x="1328" y="1762"/>
                      </a:lnTo>
                      <a:lnTo>
                        <a:pt x="1335" y="1761"/>
                      </a:lnTo>
                      <a:lnTo>
                        <a:pt x="1339" y="1760"/>
                      </a:lnTo>
                      <a:lnTo>
                        <a:pt x="1345" y="1762"/>
                      </a:lnTo>
                      <a:lnTo>
                        <a:pt x="1351" y="1765"/>
                      </a:lnTo>
                      <a:lnTo>
                        <a:pt x="1359" y="1766"/>
                      </a:lnTo>
                      <a:lnTo>
                        <a:pt x="1364" y="1768"/>
                      </a:lnTo>
                      <a:lnTo>
                        <a:pt x="1369" y="1771"/>
                      </a:lnTo>
                      <a:lnTo>
                        <a:pt x="1378" y="1778"/>
                      </a:lnTo>
                      <a:lnTo>
                        <a:pt x="1381" y="1783"/>
                      </a:lnTo>
                      <a:lnTo>
                        <a:pt x="1386" y="1783"/>
                      </a:lnTo>
                      <a:lnTo>
                        <a:pt x="1389" y="1780"/>
                      </a:lnTo>
                      <a:lnTo>
                        <a:pt x="1397" y="1776"/>
                      </a:lnTo>
                      <a:lnTo>
                        <a:pt x="1404" y="1774"/>
                      </a:lnTo>
                      <a:lnTo>
                        <a:pt x="1410" y="1774"/>
                      </a:lnTo>
                      <a:lnTo>
                        <a:pt x="1413" y="1771"/>
                      </a:lnTo>
                      <a:lnTo>
                        <a:pt x="1418" y="1768"/>
                      </a:lnTo>
                      <a:lnTo>
                        <a:pt x="1421" y="1763"/>
                      </a:lnTo>
                      <a:lnTo>
                        <a:pt x="1426" y="1763"/>
                      </a:lnTo>
                      <a:lnTo>
                        <a:pt x="1428" y="1766"/>
                      </a:lnTo>
                      <a:lnTo>
                        <a:pt x="1426" y="1768"/>
                      </a:lnTo>
                      <a:lnTo>
                        <a:pt x="1424" y="1773"/>
                      </a:lnTo>
                      <a:lnTo>
                        <a:pt x="1428" y="1772"/>
                      </a:lnTo>
                      <a:lnTo>
                        <a:pt x="1437" y="1773"/>
                      </a:lnTo>
                      <a:lnTo>
                        <a:pt x="1441" y="1770"/>
                      </a:lnTo>
                      <a:lnTo>
                        <a:pt x="1444" y="1767"/>
                      </a:lnTo>
                      <a:lnTo>
                        <a:pt x="1449" y="1764"/>
                      </a:lnTo>
                      <a:lnTo>
                        <a:pt x="1451" y="1766"/>
                      </a:lnTo>
                      <a:lnTo>
                        <a:pt x="1452" y="1770"/>
                      </a:lnTo>
                      <a:lnTo>
                        <a:pt x="1447" y="1774"/>
                      </a:lnTo>
                      <a:lnTo>
                        <a:pt x="1447" y="1779"/>
                      </a:lnTo>
                      <a:lnTo>
                        <a:pt x="1450" y="1780"/>
                      </a:lnTo>
                      <a:lnTo>
                        <a:pt x="1456" y="1781"/>
                      </a:lnTo>
                      <a:lnTo>
                        <a:pt x="1460" y="1779"/>
                      </a:lnTo>
                      <a:lnTo>
                        <a:pt x="1462" y="1773"/>
                      </a:lnTo>
                      <a:lnTo>
                        <a:pt x="1465" y="1767"/>
                      </a:lnTo>
                      <a:lnTo>
                        <a:pt x="1466" y="1759"/>
                      </a:lnTo>
                      <a:lnTo>
                        <a:pt x="1471" y="1755"/>
                      </a:lnTo>
                      <a:lnTo>
                        <a:pt x="1472" y="1752"/>
                      </a:lnTo>
                      <a:lnTo>
                        <a:pt x="1473" y="1748"/>
                      </a:lnTo>
                      <a:lnTo>
                        <a:pt x="1473" y="1741"/>
                      </a:lnTo>
                      <a:lnTo>
                        <a:pt x="1469" y="1738"/>
                      </a:lnTo>
                      <a:lnTo>
                        <a:pt x="1463" y="1733"/>
                      </a:lnTo>
                      <a:lnTo>
                        <a:pt x="1456" y="1725"/>
                      </a:lnTo>
                      <a:lnTo>
                        <a:pt x="1452" y="1721"/>
                      </a:lnTo>
                      <a:lnTo>
                        <a:pt x="1453" y="1713"/>
                      </a:lnTo>
                      <a:lnTo>
                        <a:pt x="1453" y="1704"/>
                      </a:lnTo>
                      <a:lnTo>
                        <a:pt x="1456" y="1700"/>
                      </a:lnTo>
                      <a:lnTo>
                        <a:pt x="1452" y="1700"/>
                      </a:lnTo>
                      <a:lnTo>
                        <a:pt x="1451" y="1705"/>
                      </a:lnTo>
                      <a:lnTo>
                        <a:pt x="1449" y="1710"/>
                      </a:lnTo>
                      <a:lnTo>
                        <a:pt x="1444" y="1711"/>
                      </a:lnTo>
                      <a:lnTo>
                        <a:pt x="1440" y="1707"/>
                      </a:lnTo>
                      <a:lnTo>
                        <a:pt x="1434" y="1702"/>
                      </a:lnTo>
                      <a:lnTo>
                        <a:pt x="1434" y="1696"/>
                      </a:lnTo>
                      <a:lnTo>
                        <a:pt x="1433" y="1688"/>
                      </a:lnTo>
                      <a:lnTo>
                        <a:pt x="1432" y="1683"/>
                      </a:lnTo>
                      <a:lnTo>
                        <a:pt x="1436" y="1679"/>
                      </a:lnTo>
                      <a:lnTo>
                        <a:pt x="1440" y="1679"/>
                      </a:lnTo>
                      <a:lnTo>
                        <a:pt x="1444" y="1680"/>
                      </a:lnTo>
                      <a:lnTo>
                        <a:pt x="1447" y="1679"/>
                      </a:lnTo>
                      <a:lnTo>
                        <a:pt x="1452" y="1682"/>
                      </a:lnTo>
                      <a:lnTo>
                        <a:pt x="1456" y="1686"/>
                      </a:lnTo>
                      <a:lnTo>
                        <a:pt x="1460" y="1686"/>
                      </a:lnTo>
                      <a:lnTo>
                        <a:pt x="1459" y="1682"/>
                      </a:lnTo>
                      <a:lnTo>
                        <a:pt x="1457" y="1676"/>
                      </a:lnTo>
                      <a:lnTo>
                        <a:pt x="1458" y="1669"/>
                      </a:lnTo>
                      <a:lnTo>
                        <a:pt x="1457" y="1662"/>
                      </a:lnTo>
                      <a:lnTo>
                        <a:pt x="1459" y="1656"/>
                      </a:lnTo>
                      <a:lnTo>
                        <a:pt x="1460" y="1649"/>
                      </a:lnTo>
                      <a:lnTo>
                        <a:pt x="1465" y="1645"/>
                      </a:lnTo>
                      <a:lnTo>
                        <a:pt x="1469" y="1637"/>
                      </a:lnTo>
                      <a:lnTo>
                        <a:pt x="1472" y="1632"/>
                      </a:lnTo>
                      <a:lnTo>
                        <a:pt x="1476" y="1626"/>
                      </a:lnTo>
                      <a:lnTo>
                        <a:pt x="1480" y="1622"/>
                      </a:lnTo>
                      <a:lnTo>
                        <a:pt x="1483" y="1618"/>
                      </a:lnTo>
                      <a:lnTo>
                        <a:pt x="1484" y="1614"/>
                      </a:lnTo>
                      <a:lnTo>
                        <a:pt x="1486" y="1610"/>
                      </a:lnTo>
                      <a:lnTo>
                        <a:pt x="1490" y="1605"/>
                      </a:lnTo>
                      <a:lnTo>
                        <a:pt x="1493" y="1601"/>
                      </a:lnTo>
                      <a:lnTo>
                        <a:pt x="1497" y="1593"/>
                      </a:lnTo>
                      <a:lnTo>
                        <a:pt x="1503" y="1588"/>
                      </a:lnTo>
                      <a:lnTo>
                        <a:pt x="1504" y="1581"/>
                      </a:lnTo>
                      <a:lnTo>
                        <a:pt x="1508" y="1576"/>
                      </a:lnTo>
                      <a:lnTo>
                        <a:pt x="1510" y="1570"/>
                      </a:lnTo>
                      <a:lnTo>
                        <a:pt x="1511" y="1565"/>
                      </a:lnTo>
                      <a:lnTo>
                        <a:pt x="1511" y="1555"/>
                      </a:lnTo>
                      <a:lnTo>
                        <a:pt x="1510" y="1550"/>
                      </a:lnTo>
                      <a:lnTo>
                        <a:pt x="1509" y="1544"/>
                      </a:lnTo>
                      <a:lnTo>
                        <a:pt x="1507" y="1539"/>
                      </a:lnTo>
                      <a:lnTo>
                        <a:pt x="1504" y="1535"/>
                      </a:lnTo>
                      <a:lnTo>
                        <a:pt x="1502" y="1528"/>
                      </a:lnTo>
                      <a:lnTo>
                        <a:pt x="1501" y="1519"/>
                      </a:lnTo>
                      <a:lnTo>
                        <a:pt x="1501" y="1512"/>
                      </a:lnTo>
                      <a:lnTo>
                        <a:pt x="1506" y="1499"/>
                      </a:lnTo>
                      <a:lnTo>
                        <a:pt x="1509" y="1494"/>
                      </a:lnTo>
                      <a:lnTo>
                        <a:pt x="1514" y="1486"/>
                      </a:lnTo>
                      <a:lnTo>
                        <a:pt x="1518" y="1478"/>
                      </a:lnTo>
                      <a:lnTo>
                        <a:pt x="1524" y="1471"/>
                      </a:lnTo>
                      <a:lnTo>
                        <a:pt x="1527" y="1468"/>
                      </a:lnTo>
                      <a:lnTo>
                        <a:pt x="1528" y="1463"/>
                      </a:lnTo>
                      <a:lnTo>
                        <a:pt x="1530" y="1458"/>
                      </a:lnTo>
                      <a:lnTo>
                        <a:pt x="1529" y="1457"/>
                      </a:lnTo>
                      <a:lnTo>
                        <a:pt x="1528" y="1453"/>
                      </a:lnTo>
                      <a:lnTo>
                        <a:pt x="1527" y="1446"/>
                      </a:lnTo>
                      <a:lnTo>
                        <a:pt x="1527" y="1439"/>
                      </a:lnTo>
                      <a:lnTo>
                        <a:pt x="1528" y="1433"/>
                      </a:lnTo>
                      <a:lnTo>
                        <a:pt x="1530" y="1427"/>
                      </a:lnTo>
                      <a:lnTo>
                        <a:pt x="1531" y="1421"/>
                      </a:lnTo>
                      <a:lnTo>
                        <a:pt x="1534" y="1412"/>
                      </a:lnTo>
                      <a:lnTo>
                        <a:pt x="1537" y="1407"/>
                      </a:lnTo>
                      <a:lnTo>
                        <a:pt x="1543" y="1403"/>
                      </a:lnTo>
                      <a:lnTo>
                        <a:pt x="1548" y="1399"/>
                      </a:lnTo>
                      <a:lnTo>
                        <a:pt x="1551" y="1396"/>
                      </a:lnTo>
                      <a:lnTo>
                        <a:pt x="1552" y="1392"/>
                      </a:lnTo>
                      <a:lnTo>
                        <a:pt x="1551" y="1388"/>
                      </a:lnTo>
                      <a:lnTo>
                        <a:pt x="1553" y="1381"/>
                      </a:lnTo>
                      <a:lnTo>
                        <a:pt x="1555" y="1377"/>
                      </a:lnTo>
                      <a:lnTo>
                        <a:pt x="1559" y="1370"/>
                      </a:lnTo>
                      <a:lnTo>
                        <a:pt x="1563" y="1364"/>
                      </a:lnTo>
                      <a:lnTo>
                        <a:pt x="1564" y="1356"/>
                      </a:lnTo>
                      <a:lnTo>
                        <a:pt x="1567" y="1351"/>
                      </a:lnTo>
                      <a:lnTo>
                        <a:pt x="1571" y="1345"/>
                      </a:lnTo>
                      <a:lnTo>
                        <a:pt x="1571" y="1338"/>
                      </a:lnTo>
                      <a:lnTo>
                        <a:pt x="1573" y="1334"/>
                      </a:lnTo>
                      <a:lnTo>
                        <a:pt x="1567" y="1330"/>
                      </a:lnTo>
                      <a:lnTo>
                        <a:pt x="1564" y="1329"/>
                      </a:lnTo>
                      <a:lnTo>
                        <a:pt x="1561" y="1326"/>
                      </a:lnTo>
                      <a:lnTo>
                        <a:pt x="1561" y="1319"/>
                      </a:lnTo>
                      <a:lnTo>
                        <a:pt x="1560" y="1313"/>
                      </a:lnTo>
                      <a:lnTo>
                        <a:pt x="1556" y="1309"/>
                      </a:lnTo>
                      <a:lnTo>
                        <a:pt x="1555" y="1304"/>
                      </a:lnTo>
                      <a:lnTo>
                        <a:pt x="1555" y="1295"/>
                      </a:lnTo>
                      <a:lnTo>
                        <a:pt x="1557" y="1290"/>
                      </a:lnTo>
                      <a:lnTo>
                        <a:pt x="1558" y="1288"/>
                      </a:lnTo>
                      <a:lnTo>
                        <a:pt x="1558" y="1282"/>
                      </a:lnTo>
                      <a:lnTo>
                        <a:pt x="1558" y="1278"/>
                      </a:lnTo>
                      <a:lnTo>
                        <a:pt x="1558" y="1273"/>
                      </a:lnTo>
                      <a:lnTo>
                        <a:pt x="1558" y="1267"/>
                      </a:lnTo>
                      <a:lnTo>
                        <a:pt x="1558" y="1262"/>
                      </a:lnTo>
                      <a:lnTo>
                        <a:pt x="1558" y="1258"/>
                      </a:lnTo>
                      <a:lnTo>
                        <a:pt x="1557" y="1254"/>
                      </a:lnTo>
                      <a:lnTo>
                        <a:pt x="1556" y="1250"/>
                      </a:lnTo>
                      <a:lnTo>
                        <a:pt x="1554" y="1247"/>
                      </a:lnTo>
                      <a:lnTo>
                        <a:pt x="1551" y="1241"/>
                      </a:lnTo>
                      <a:lnTo>
                        <a:pt x="1549" y="1237"/>
                      </a:lnTo>
                      <a:lnTo>
                        <a:pt x="1547" y="1231"/>
                      </a:lnTo>
                      <a:lnTo>
                        <a:pt x="1545" y="1225"/>
                      </a:lnTo>
                      <a:lnTo>
                        <a:pt x="1544" y="1220"/>
                      </a:lnTo>
                      <a:lnTo>
                        <a:pt x="1544" y="1212"/>
                      </a:lnTo>
                      <a:lnTo>
                        <a:pt x="1540" y="1207"/>
                      </a:lnTo>
                      <a:lnTo>
                        <a:pt x="1537" y="1201"/>
                      </a:lnTo>
                      <a:lnTo>
                        <a:pt x="1535" y="1198"/>
                      </a:lnTo>
                      <a:lnTo>
                        <a:pt x="1533" y="1192"/>
                      </a:lnTo>
                      <a:lnTo>
                        <a:pt x="1532" y="1188"/>
                      </a:lnTo>
                      <a:lnTo>
                        <a:pt x="1531" y="1183"/>
                      </a:lnTo>
                      <a:lnTo>
                        <a:pt x="1531" y="1177"/>
                      </a:lnTo>
                      <a:lnTo>
                        <a:pt x="1531" y="1176"/>
                      </a:lnTo>
                      <a:lnTo>
                        <a:pt x="1532" y="1173"/>
                      </a:lnTo>
                      <a:lnTo>
                        <a:pt x="1534" y="1169"/>
                      </a:lnTo>
                      <a:lnTo>
                        <a:pt x="1536" y="1164"/>
                      </a:lnTo>
                      <a:lnTo>
                        <a:pt x="1534" y="1160"/>
                      </a:lnTo>
                      <a:lnTo>
                        <a:pt x="1532" y="1157"/>
                      </a:lnTo>
                      <a:lnTo>
                        <a:pt x="1526" y="1153"/>
                      </a:lnTo>
                      <a:lnTo>
                        <a:pt x="1522" y="1152"/>
                      </a:lnTo>
                      <a:lnTo>
                        <a:pt x="1516" y="1150"/>
                      </a:lnTo>
                      <a:lnTo>
                        <a:pt x="1511" y="1149"/>
                      </a:lnTo>
                      <a:lnTo>
                        <a:pt x="1507" y="1146"/>
                      </a:lnTo>
                      <a:lnTo>
                        <a:pt x="1503" y="1142"/>
                      </a:lnTo>
                      <a:lnTo>
                        <a:pt x="1501" y="1136"/>
                      </a:lnTo>
                      <a:lnTo>
                        <a:pt x="1495" y="1132"/>
                      </a:lnTo>
                      <a:lnTo>
                        <a:pt x="1491" y="1127"/>
                      </a:lnTo>
                      <a:lnTo>
                        <a:pt x="1492" y="1121"/>
                      </a:lnTo>
                      <a:lnTo>
                        <a:pt x="1495" y="1118"/>
                      </a:lnTo>
                      <a:lnTo>
                        <a:pt x="1500" y="1117"/>
                      </a:lnTo>
                      <a:lnTo>
                        <a:pt x="1505" y="1115"/>
                      </a:lnTo>
                      <a:lnTo>
                        <a:pt x="1508" y="1111"/>
                      </a:lnTo>
                      <a:lnTo>
                        <a:pt x="1512" y="1106"/>
                      </a:lnTo>
                      <a:lnTo>
                        <a:pt x="1515" y="1103"/>
                      </a:lnTo>
                      <a:lnTo>
                        <a:pt x="1521" y="1102"/>
                      </a:lnTo>
                      <a:lnTo>
                        <a:pt x="1525" y="1103"/>
                      </a:lnTo>
                      <a:lnTo>
                        <a:pt x="1529" y="1106"/>
                      </a:lnTo>
                      <a:lnTo>
                        <a:pt x="1533" y="1110"/>
                      </a:lnTo>
                      <a:lnTo>
                        <a:pt x="1537" y="1115"/>
                      </a:lnTo>
                      <a:lnTo>
                        <a:pt x="1540" y="1120"/>
                      </a:lnTo>
                      <a:lnTo>
                        <a:pt x="1544" y="1116"/>
                      </a:lnTo>
                      <a:lnTo>
                        <a:pt x="1548" y="1110"/>
                      </a:lnTo>
                      <a:lnTo>
                        <a:pt x="1546" y="1102"/>
                      </a:lnTo>
                      <a:lnTo>
                        <a:pt x="1544" y="1099"/>
                      </a:lnTo>
                      <a:lnTo>
                        <a:pt x="1539" y="1099"/>
                      </a:lnTo>
                      <a:lnTo>
                        <a:pt x="1535" y="1098"/>
                      </a:lnTo>
                      <a:lnTo>
                        <a:pt x="1531" y="1098"/>
                      </a:lnTo>
                      <a:lnTo>
                        <a:pt x="1525" y="1097"/>
                      </a:lnTo>
                      <a:lnTo>
                        <a:pt x="1526" y="1090"/>
                      </a:lnTo>
                      <a:lnTo>
                        <a:pt x="1524" y="1084"/>
                      </a:lnTo>
                      <a:lnTo>
                        <a:pt x="1523" y="1078"/>
                      </a:lnTo>
                      <a:lnTo>
                        <a:pt x="1522" y="1073"/>
                      </a:lnTo>
                      <a:lnTo>
                        <a:pt x="1518" y="1069"/>
                      </a:lnTo>
                      <a:lnTo>
                        <a:pt x="1520" y="1062"/>
                      </a:lnTo>
                      <a:lnTo>
                        <a:pt x="1524" y="1056"/>
                      </a:lnTo>
                      <a:lnTo>
                        <a:pt x="1525" y="1048"/>
                      </a:lnTo>
                      <a:lnTo>
                        <a:pt x="1529" y="1043"/>
                      </a:lnTo>
                      <a:lnTo>
                        <a:pt x="1531" y="1039"/>
                      </a:lnTo>
                      <a:lnTo>
                        <a:pt x="1531" y="1035"/>
                      </a:lnTo>
                      <a:lnTo>
                        <a:pt x="1532" y="1028"/>
                      </a:lnTo>
                      <a:lnTo>
                        <a:pt x="1535" y="1025"/>
                      </a:lnTo>
                      <a:lnTo>
                        <a:pt x="1536" y="1017"/>
                      </a:lnTo>
                      <a:lnTo>
                        <a:pt x="1535" y="1011"/>
                      </a:lnTo>
                      <a:lnTo>
                        <a:pt x="1535" y="1006"/>
                      </a:lnTo>
                      <a:lnTo>
                        <a:pt x="1533" y="1000"/>
                      </a:lnTo>
                      <a:lnTo>
                        <a:pt x="1531" y="997"/>
                      </a:lnTo>
                      <a:lnTo>
                        <a:pt x="1529" y="993"/>
                      </a:lnTo>
                      <a:lnTo>
                        <a:pt x="1522" y="991"/>
                      </a:lnTo>
                      <a:lnTo>
                        <a:pt x="1517" y="991"/>
                      </a:lnTo>
                      <a:lnTo>
                        <a:pt x="1515" y="989"/>
                      </a:lnTo>
                      <a:lnTo>
                        <a:pt x="1511" y="986"/>
                      </a:lnTo>
                      <a:lnTo>
                        <a:pt x="1508" y="981"/>
                      </a:lnTo>
                      <a:lnTo>
                        <a:pt x="1507" y="979"/>
                      </a:lnTo>
                      <a:lnTo>
                        <a:pt x="1503" y="976"/>
                      </a:lnTo>
                      <a:lnTo>
                        <a:pt x="1501" y="972"/>
                      </a:lnTo>
                      <a:lnTo>
                        <a:pt x="1498" y="968"/>
                      </a:lnTo>
                      <a:lnTo>
                        <a:pt x="1492" y="966"/>
                      </a:lnTo>
                      <a:lnTo>
                        <a:pt x="1489" y="962"/>
                      </a:lnTo>
                      <a:lnTo>
                        <a:pt x="1486" y="956"/>
                      </a:lnTo>
                      <a:lnTo>
                        <a:pt x="1484" y="950"/>
                      </a:lnTo>
                      <a:lnTo>
                        <a:pt x="1481" y="946"/>
                      </a:lnTo>
                      <a:lnTo>
                        <a:pt x="1480" y="941"/>
                      </a:lnTo>
                      <a:lnTo>
                        <a:pt x="1479" y="935"/>
                      </a:lnTo>
                      <a:lnTo>
                        <a:pt x="1479" y="934"/>
                      </a:lnTo>
                      <a:lnTo>
                        <a:pt x="1479" y="928"/>
                      </a:lnTo>
                      <a:lnTo>
                        <a:pt x="1480" y="924"/>
                      </a:lnTo>
                      <a:lnTo>
                        <a:pt x="1481" y="920"/>
                      </a:lnTo>
                      <a:lnTo>
                        <a:pt x="1478" y="917"/>
                      </a:lnTo>
                      <a:lnTo>
                        <a:pt x="1478" y="912"/>
                      </a:lnTo>
                      <a:lnTo>
                        <a:pt x="1478" y="908"/>
                      </a:lnTo>
                      <a:lnTo>
                        <a:pt x="1479" y="903"/>
                      </a:lnTo>
                      <a:lnTo>
                        <a:pt x="1478" y="898"/>
                      </a:lnTo>
                      <a:lnTo>
                        <a:pt x="1478" y="895"/>
                      </a:lnTo>
                      <a:lnTo>
                        <a:pt x="1479" y="893"/>
                      </a:lnTo>
                      <a:lnTo>
                        <a:pt x="1478" y="887"/>
                      </a:lnTo>
                      <a:lnTo>
                        <a:pt x="1481" y="881"/>
                      </a:lnTo>
                      <a:lnTo>
                        <a:pt x="1483" y="878"/>
                      </a:lnTo>
                      <a:lnTo>
                        <a:pt x="1483" y="874"/>
                      </a:lnTo>
                      <a:lnTo>
                        <a:pt x="1480" y="871"/>
                      </a:lnTo>
                      <a:lnTo>
                        <a:pt x="1477" y="870"/>
                      </a:lnTo>
                      <a:lnTo>
                        <a:pt x="1475" y="865"/>
                      </a:lnTo>
                      <a:lnTo>
                        <a:pt x="1474" y="862"/>
                      </a:lnTo>
                      <a:lnTo>
                        <a:pt x="1473" y="859"/>
                      </a:lnTo>
                      <a:lnTo>
                        <a:pt x="1472" y="854"/>
                      </a:lnTo>
                      <a:lnTo>
                        <a:pt x="1476" y="850"/>
                      </a:lnTo>
                      <a:lnTo>
                        <a:pt x="1477" y="845"/>
                      </a:lnTo>
                      <a:lnTo>
                        <a:pt x="1476" y="840"/>
                      </a:lnTo>
                      <a:lnTo>
                        <a:pt x="1473" y="838"/>
                      </a:lnTo>
                      <a:lnTo>
                        <a:pt x="1470" y="835"/>
                      </a:lnTo>
                      <a:lnTo>
                        <a:pt x="1461" y="836"/>
                      </a:lnTo>
                      <a:lnTo>
                        <a:pt x="1457" y="833"/>
                      </a:lnTo>
                      <a:lnTo>
                        <a:pt x="1452" y="832"/>
                      </a:lnTo>
                      <a:lnTo>
                        <a:pt x="1446" y="831"/>
                      </a:lnTo>
                      <a:lnTo>
                        <a:pt x="1441" y="828"/>
                      </a:lnTo>
                      <a:lnTo>
                        <a:pt x="1439" y="824"/>
                      </a:lnTo>
                      <a:lnTo>
                        <a:pt x="1435" y="820"/>
                      </a:lnTo>
                      <a:lnTo>
                        <a:pt x="1433" y="815"/>
                      </a:lnTo>
                      <a:lnTo>
                        <a:pt x="1433" y="810"/>
                      </a:lnTo>
                      <a:lnTo>
                        <a:pt x="1432" y="806"/>
                      </a:lnTo>
                      <a:lnTo>
                        <a:pt x="1431" y="800"/>
                      </a:lnTo>
                      <a:lnTo>
                        <a:pt x="1431" y="793"/>
                      </a:lnTo>
                      <a:lnTo>
                        <a:pt x="1432" y="784"/>
                      </a:lnTo>
                      <a:lnTo>
                        <a:pt x="1432" y="779"/>
                      </a:lnTo>
                      <a:lnTo>
                        <a:pt x="1434" y="775"/>
                      </a:lnTo>
                      <a:lnTo>
                        <a:pt x="1437" y="770"/>
                      </a:lnTo>
                      <a:lnTo>
                        <a:pt x="1440" y="767"/>
                      </a:lnTo>
                      <a:lnTo>
                        <a:pt x="1440" y="764"/>
                      </a:lnTo>
                      <a:lnTo>
                        <a:pt x="1441" y="760"/>
                      </a:lnTo>
                      <a:lnTo>
                        <a:pt x="1435" y="757"/>
                      </a:lnTo>
                      <a:lnTo>
                        <a:pt x="1440" y="757"/>
                      </a:lnTo>
                      <a:lnTo>
                        <a:pt x="1444" y="755"/>
                      </a:lnTo>
                      <a:lnTo>
                        <a:pt x="1448" y="754"/>
                      </a:lnTo>
                      <a:lnTo>
                        <a:pt x="1452" y="756"/>
                      </a:lnTo>
                      <a:lnTo>
                        <a:pt x="1456" y="757"/>
                      </a:lnTo>
                      <a:lnTo>
                        <a:pt x="1461" y="758"/>
                      </a:lnTo>
                      <a:lnTo>
                        <a:pt x="1465" y="761"/>
                      </a:lnTo>
                      <a:lnTo>
                        <a:pt x="1472" y="763"/>
                      </a:lnTo>
                      <a:lnTo>
                        <a:pt x="1477" y="766"/>
                      </a:lnTo>
                      <a:lnTo>
                        <a:pt x="1483" y="767"/>
                      </a:lnTo>
                      <a:lnTo>
                        <a:pt x="1486" y="770"/>
                      </a:lnTo>
                      <a:lnTo>
                        <a:pt x="1492" y="771"/>
                      </a:lnTo>
                      <a:lnTo>
                        <a:pt x="1498" y="771"/>
                      </a:lnTo>
                      <a:lnTo>
                        <a:pt x="1502" y="769"/>
                      </a:lnTo>
                      <a:lnTo>
                        <a:pt x="1507" y="768"/>
                      </a:lnTo>
                      <a:lnTo>
                        <a:pt x="1512" y="765"/>
                      </a:lnTo>
                      <a:lnTo>
                        <a:pt x="1511" y="762"/>
                      </a:lnTo>
                      <a:lnTo>
                        <a:pt x="1517" y="758"/>
                      </a:lnTo>
                      <a:lnTo>
                        <a:pt x="1516" y="754"/>
                      </a:lnTo>
                      <a:lnTo>
                        <a:pt x="1514" y="751"/>
                      </a:lnTo>
                      <a:lnTo>
                        <a:pt x="1512" y="748"/>
                      </a:lnTo>
                      <a:lnTo>
                        <a:pt x="1510" y="745"/>
                      </a:lnTo>
                      <a:lnTo>
                        <a:pt x="1507" y="740"/>
                      </a:lnTo>
                      <a:lnTo>
                        <a:pt x="1504" y="738"/>
                      </a:lnTo>
                      <a:lnTo>
                        <a:pt x="1500" y="734"/>
                      </a:lnTo>
                      <a:lnTo>
                        <a:pt x="1495" y="733"/>
                      </a:lnTo>
                      <a:lnTo>
                        <a:pt x="1492" y="728"/>
                      </a:lnTo>
                      <a:lnTo>
                        <a:pt x="1486" y="723"/>
                      </a:lnTo>
                      <a:lnTo>
                        <a:pt x="1482" y="723"/>
                      </a:lnTo>
                      <a:lnTo>
                        <a:pt x="1475" y="718"/>
                      </a:lnTo>
                      <a:lnTo>
                        <a:pt x="1468" y="713"/>
                      </a:lnTo>
                      <a:lnTo>
                        <a:pt x="1466" y="710"/>
                      </a:lnTo>
                      <a:lnTo>
                        <a:pt x="1467" y="706"/>
                      </a:lnTo>
                      <a:lnTo>
                        <a:pt x="1467" y="701"/>
                      </a:lnTo>
                      <a:lnTo>
                        <a:pt x="1462" y="701"/>
                      </a:lnTo>
                      <a:lnTo>
                        <a:pt x="1458" y="703"/>
                      </a:lnTo>
                      <a:lnTo>
                        <a:pt x="1455" y="708"/>
                      </a:lnTo>
                      <a:lnTo>
                        <a:pt x="1450" y="707"/>
                      </a:lnTo>
                      <a:lnTo>
                        <a:pt x="1440" y="708"/>
                      </a:lnTo>
                      <a:lnTo>
                        <a:pt x="1441" y="714"/>
                      </a:lnTo>
                      <a:lnTo>
                        <a:pt x="1439" y="721"/>
                      </a:lnTo>
                      <a:lnTo>
                        <a:pt x="1428" y="723"/>
                      </a:lnTo>
                      <a:lnTo>
                        <a:pt x="1418" y="725"/>
                      </a:lnTo>
                      <a:lnTo>
                        <a:pt x="1413" y="724"/>
                      </a:lnTo>
                      <a:lnTo>
                        <a:pt x="1410" y="719"/>
                      </a:lnTo>
                      <a:lnTo>
                        <a:pt x="1403" y="718"/>
                      </a:lnTo>
                      <a:lnTo>
                        <a:pt x="1399" y="720"/>
                      </a:lnTo>
                      <a:lnTo>
                        <a:pt x="1395" y="725"/>
                      </a:lnTo>
                      <a:lnTo>
                        <a:pt x="1390" y="728"/>
                      </a:lnTo>
                      <a:lnTo>
                        <a:pt x="1381" y="732"/>
                      </a:lnTo>
                      <a:lnTo>
                        <a:pt x="1375" y="732"/>
                      </a:lnTo>
                      <a:lnTo>
                        <a:pt x="1368" y="733"/>
                      </a:lnTo>
                      <a:lnTo>
                        <a:pt x="1367" y="738"/>
                      </a:lnTo>
                      <a:lnTo>
                        <a:pt x="1362" y="738"/>
                      </a:lnTo>
                      <a:lnTo>
                        <a:pt x="1358" y="738"/>
                      </a:lnTo>
                      <a:lnTo>
                        <a:pt x="1356" y="734"/>
                      </a:lnTo>
                      <a:lnTo>
                        <a:pt x="1351" y="730"/>
                      </a:lnTo>
                      <a:lnTo>
                        <a:pt x="1347" y="723"/>
                      </a:lnTo>
                      <a:lnTo>
                        <a:pt x="1344" y="718"/>
                      </a:lnTo>
                      <a:lnTo>
                        <a:pt x="1341" y="712"/>
                      </a:lnTo>
                      <a:lnTo>
                        <a:pt x="1342" y="706"/>
                      </a:lnTo>
                      <a:lnTo>
                        <a:pt x="1345" y="698"/>
                      </a:lnTo>
                      <a:lnTo>
                        <a:pt x="1345" y="692"/>
                      </a:lnTo>
                      <a:lnTo>
                        <a:pt x="1348" y="683"/>
                      </a:lnTo>
                      <a:lnTo>
                        <a:pt x="1346" y="674"/>
                      </a:lnTo>
                      <a:lnTo>
                        <a:pt x="1342" y="665"/>
                      </a:lnTo>
                      <a:lnTo>
                        <a:pt x="1337" y="660"/>
                      </a:lnTo>
                      <a:lnTo>
                        <a:pt x="1331" y="658"/>
                      </a:lnTo>
                      <a:lnTo>
                        <a:pt x="1328" y="656"/>
                      </a:lnTo>
                      <a:lnTo>
                        <a:pt x="1327" y="652"/>
                      </a:lnTo>
                      <a:lnTo>
                        <a:pt x="1319" y="654"/>
                      </a:lnTo>
                      <a:lnTo>
                        <a:pt x="1315" y="655"/>
                      </a:lnTo>
                      <a:lnTo>
                        <a:pt x="1312" y="660"/>
                      </a:lnTo>
                      <a:lnTo>
                        <a:pt x="1310" y="655"/>
                      </a:lnTo>
                      <a:lnTo>
                        <a:pt x="1305" y="653"/>
                      </a:lnTo>
                      <a:lnTo>
                        <a:pt x="1299" y="648"/>
                      </a:lnTo>
                      <a:lnTo>
                        <a:pt x="1294" y="643"/>
                      </a:lnTo>
                      <a:lnTo>
                        <a:pt x="1291" y="638"/>
                      </a:lnTo>
                      <a:lnTo>
                        <a:pt x="1287" y="633"/>
                      </a:lnTo>
                      <a:lnTo>
                        <a:pt x="1286" y="629"/>
                      </a:lnTo>
                      <a:lnTo>
                        <a:pt x="1285" y="624"/>
                      </a:lnTo>
                      <a:lnTo>
                        <a:pt x="1284" y="620"/>
                      </a:lnTo>
                      <a:lnTo>
                        <a:pt x="1283" y="615"/>
                      </a:lnTo>
                      <a:lnTo>
                        <a:pt x="1271" y="614"/>
                      </a:lnTo>
                      <a:lnTo>
                        <a:pt x="1276" y="604"/>
                      </a:lnTo>
                      <a:lnTo>
                        <a:pt x="1274" y="598"/>
                      </a:lnTo>
                      <a:lnTo>
                        <a:pt x="1273" y="590"/>
                      </a:lnTo>
                      <a:lnTo>
                        <a:pt x="1269" y="580"/>
                      </a:lnTo>
                      <a:lnTo>
                        <a:pt x="1268" y="574"/>
                      </a:lnTo>
                      <a:lnTo>
                        <a:pt x="1266" y="572"/>
                      </a:lnTo>
                      <a:lnTo>
                        <a:pt x="1261" y="570"/>
                      </a:lnTo>
                      <a:lnTo>
                        <a:pt x="1258" y="566"/>
                      </a:lnTo>
                      <a:lnTo>
                        <a:pt x="1254" y="561"/>
                      </a:lnTo>
                      <a:lnTo>
                        <a:pt x="1252" y="555"/>
                      </a:lnTo>
                      <a:lnTo>
                        <a:pt x="1248" y="552"/>
                      </a:lnTo>
                      <a:lnTo>
                        <a:pt x="1243" y="548"/>
                      </a:lnTo>
                      <a:lnTo>
                        <a:pt x="1239" y="543"/>
                      </a:lnTo>
                      <a:lnTo>
                        <a:pt x="1233" y="540"/>
                      </a:lnTo>
                      <a:lnTo>
                        <a:pt x="1226" y="538"/>
                      </a:lnTo>
                      <a:lnTo>
                        <a:pt x="1220" y="534"/>
                      </a:lnTo>
                      <a:lnTo>
                        <a:pt x="1215" y="533"/>
                      </a:lnTo>
                      <a:lnTo>
                        <a:pt x="1211" y="534"/>
                      </a:lnTo>
                      <a:lnTo>
                        <a:pt x="1209" y="539"/>
                      </a:lnTo>
                      <a:lnTo>
                        <a:pt x="1207" y="545"/>
                      </a:lnTo>
                      <a:lnTo>
                        <a:pt x="1203" y="553"/>
                      </a:lnTo>
                      <a:lnTo>
                        <a:pt x="1199" y="559"/>
                      </a:lnTo>
                      <a:lnTo>
                        <a:pt x="1189" y="566"/>
                      </a:lnTo>
                      <a:lnTo>
                        <a:pt x="1185" y="573"/>
                      </a:lnTo>
                      <a:lnTo>
                        <a:pt x="1176" y="578"/>
                      </a:lnTo>
                      <a:lnTo>
                        <a:pt x="1171" y="580"/>
                      </a:lnTo>
                      <a:lnTo>
                        <a:pt x="1170" y="585"/>
                      </a:lnTo>
                      <a:lnTo>
                        <a:pt x="1166" y="592"/>
                      </a:lnTo>
                      <a:lnTo>
                        <a:pt x="1159" y="598"/>
                      </a:lnTo>
                      <a:lnTo>
                        <a:pt x="1161" y="603"/>
                      </a:lnTo>
                      <a:lnTo>
                        <a:pt x="1166" y="605"/>
                      </a:lnTo>
                      <a:lnTo>
                        <a:pt x="1171" y="610"/>
                      </a:lnTo>
                      <a:lnTo>
                        <a:pt x="1176" y="616"/>
                      </a:lnTo>
                      <a:lnTo>
                        <a:pt x="1177" y="624"/>
                      </a:lnTo>
                      <a:lnTo>
                        <a:pt x="1178" y="633"/>
                      </a:lnTo>
                      <a:lnTo>
                        <a:pt x="1176" y="640"/>
                      </a:lnTo>
                      <a:lnTo>
                        <a:pt x="1170" y="644"/>
                      </a:lnTo>
                      <a:lnTo>
                        <a:pt x="1161" y="645"/>
                      </a:lnTo>
                      <a:lnTo>
                        <a:pt x="1152" y="646"/>
                      </a:lnTo>
                      <a:lnTo>
                        <a:pt x="1153" y="655"/>
                      </a:lnTo>
                      <a:lnTo>
                        <a:pt x="1148" y="660"/>
                      </a:lnTo>
                      <a:lnTo>
                        <a:pt x="1144" y="667"/>
                      </a:lnTo>
                      <a:lnTo>
                        <a:pt x="1145" y="675"/>
                      </a:lnTo>
                      <a:lnTo>
                        <a:pt x="1145" y="679"/>
                      </a:lnTo>
                      <a:lnTo>
                        <a:pt x="1142" y="683"/>
                      </a:lnTo>
                      <a:lnTo>
                        <a:pt x="1140" y="689"/>
                      </a:lnTo>
                      <a:lnTo>
                        <a:pt x="1137" y="696"/>
                      </a:lnTo>
                      <a:lnTo>
                        <a:pt x="1133" y="699"/>
                      </a:lnTo>
                      <a:lnTo>
                        <a:pt x="1130" y="700"/>
                      </a:lnTo>
                      <a:lnTo>
                        <a:pt x="1127" y="694"/>
                      </a:lnTo>
                      <a:lnTo>
                        <a:pt x="1129" y="681"/>
                      </a:lnTo>
                      <a:lnTo>
                        <a:pt x="1128" y="674"/>
                      </a:lnTo>
                      <a:lnTo>
                        <a:pt x="1123" y="679"/>
                      </a:lnTo>
                      <a:lnTo>
                        <a:pt x="1118" y="682"/>
                      </a:lnTo>
                      <a:lnTo>
                        <a:pt x="1122" y="690"/>
                      </a:lnTo>
                      <a:lnTo>
                        <a:pt x="1126" y="702"/>
                      </a:lnTo>
                      <a:lnTo>
                        <a:pt x="1124" y="702"/>
                      </a:lnTo>
                      <a:lnTo>
                        <a:pt x="1120" y="703"/>
                      </a:lnTo>
                      <a:lnTo>
                        <a:pt x="1114" y="698"/>
                      </a:lnTo>
                      <a:lnTo>
                        <a:pt x="1112" y="693"/>
                      </a:lnTo>
                      <a:lnTo>
                        <a:pt x="1109" y="690"/>
                      </a:lnTo>
                      <a:lnTo>
                        <a:pt x="1108" y="689"/>
                      </a:lnTo>
                      <a:lnTo>
                        <a:pt x="1100" y="690"/>
                      </a:lnTo>
                      <a:lnTo>
                        <a:pt x="1095" y="691"/>
                      </a:lnTo>
                      <a:lnTo>
                        <a:pt x="1091" y="690"/>
                      </a:lnTo>
                      <a:lnTo>
                        <a:pt x="1094" y="684"/>
                      </a:lnTo>
                      <a:lnTo>
                        <a:pt x="1098" y="682"/>
                      </a:lnTo>
                      <a:lnTo>
                        <a:pt x="1096" y="677"/>
                      </a:lnTo>
                      <a:lnTo>
                        <a:pt x="1091" y="675"/>
                      </a:lnTo>
                      <a:lnTo>
                        <a:pt x="1088" y="675"/>
                      </a:lnTo>
                      <a:lnTo>
                        <a:pt x="1087" y="680"/>
                      </a:lnTo>
                      <a:lnTo>
                        <a:pt x="1079" y="687"/>
                      </a:lnTo>
                      <a:lnTo>
                        <a:pt x="1076" y="691"/>
                      </a:lnTo>
                      <a:lnTo>
                        <a:pt x="1066" y="698"/>
                      </a:lnTo>
                      <a:lnTo>
                        <a:pt x="1061" y="699"/>
                      </a:lnTo>
                      <a:lnTo>
                        <a:pt x="1056" y="693"/>
                      </a:lnTo>
                      <a:lnTo>
                        <a:pt x="1051" y="693"/>
                      </a:lnTo>
                      <a:lnTo>
                        <a:pt x="1038" y="694"/>
                      </a:lnTo>
                      <a:lnTo>
                        <a:pt x="1034" y="689"/>
                      </a:lnTo>
                      <a:lnTo>
                        <a:pt x="1030" y="687"/>
                      </a:lnTo>
                      <a:lnTo>
                        <a:pt x="1023" y="683"/>
                      </a:lnTo>
                      <a:lnTo>
                        <a:pt x="1020" y="678"/>
                      </a:lnTo>
                      <a:lnTo>
                        <a:pt x="1020" y="673"/>
                      </a:lnTo>
                      <a:lnTo>
                        <a:pt x="1015" y="669"/>
                      </a:lnTo>
                      <a:lnTo>
                        <a:pt x="1013" y="664"/>
                      </a:lnTo>
                      <a:lnTo>
                        <a:pt x="1008" y="666"/>
                      </a:lnTo>
                      <a:lnTo>
                        <a:pt x="1004" y="663"/>
                      </a:lnTo>
                      <a:lnTo>
                        <a:pt x="1002" y="658"/>
                      </a:lnTo>
                      <a:lnTo>
                        <a:pt x="999" y="654"/>
                      </a:lnTo>
                      <a:lnTo>
                        <a:pt x="988" y="653"/>
                      </a:lnTo>
                      <a:lnTo>
                        <a:pt x="982" y="650"/>
                      </a:lnTo>
                      <a:lnTo>
                        <a:pt x="975" y="650"/>
                      </a:lnTo>
                      <a:lnTo>
                        <a:pt x="971" y="650"/>
                      </a:lnTo>
                      <a:lnTo>
                        <a:pt x="962" y="650"/>
                      </a:lnTo>
                      <a:lnTo>
                        <a:pt x="955" y="650"/>
                      </a:lnTo>
                      <a:lnTo>
                        <a:pt x="949" y="649"/>
                      </a:lnTo>
                      <a:lnTo>
                        <a:pt x="946" y="645"/>
                      </a:lnTo>
                      <a:lnTo>
                        <a:pt x="945" y="640"/>
                      </a:lnTo>
                      <a:lnTo>
                        <a:pt x="943" y="634"/>
                      </a:lnTo>
                      <a:lnTo>
                        <a:pt x="942" y="626"/>
                      </a:lnTo>
                      <a:lnTo>
                        <a:pt x="941" y="618"/>
                      </a:lnTo>
                      <a:lnTo>
                        <a:pt x="939" y="612"/>
                      </a:lnTo>
                      <a:lnTo>
                        <a:pt x="936" y="607"/>
                      </a:lnTo>
                      <a:lnTo>
                        <a:pt x="931" y="605"/>
                      </a:lnTo>
                      <a:lnTo>
                        <a:pt x="925" y="600"/>
                      </a:lnTo>
                      <a:lnTo>
                        <a:pt x="920" y="594"/>
                      </a:lnTo>
                      <a:lnTo>
                        <a:pt x="911" y="589"/>
                      </a:lnTo>
                      <a:lnTo>
                        <a:pt x="907" y="581"/>
                      </a:lnTo>
                      <a:lnTo>
                        <a:pt x="906" y="575"/>
                      </a:lnTo>
                      <a:lnTo>
                        <a:pt x="901" y="570"/>
                      </a:lnTo>
                      <a:lnTo>
                        <a:pt x="897" y="566"/>
                      </a:lnTo>
                      <a:lnTo>
                        <a:pt x="890" y="563"/>
                      </a:lnTo>
                      <a:lnTo>
                        <a:pt x="882" y="560"/>
                      </a:lnTo>
                      <a:lnTo>
                        <a:pt x="877" y="552"/>
                      </a:lnTo>
                      <a:lnTo>
                        <a:pt x="874" y="547"/>
                      </a:lnTo>
                      <a:lnTo>
                        <a:pt x="869" y="541"/>
                      </a:lnTo>
                      <a:lnTo>
                        <a:pt x="861" y="534"/>
                      </a:lnTo>
                      <a:lnTo>
                        <a:pt x="855" y="528"/>
                      </a:lnTo>
                      <a:lnTo>
                        <a:pt x="855" y="522"/>
                      </a:lnTo>
                      <a:lnTo>
                        <a:pt x="852" y="515"/>
                      </a:lnTo>
                      <a:lnTo>
                        <a:pt x="850" y="512"/>
                      </a:lnTo>
                      <a:close/>
                      <a:moveTo>
                        <a:pt x="122" y="2029"/>
                      </a:moveTo>
                      <a:lnTo>
                        <a:pt x="124" y="2035"/>
                      </a:lnTo>
                      <a:lnTo>
                        <a:pt x="127" y="2031"/>
                      </a:lnTo>
                      <a:lnTo>
                        <a:pt x="127" y="2027"/>
                      </a:lnTo>
                      <a:lnTo>
                        <a:pt x="122" y="2029"/>
                      </a:lnTo>
                      <a:close/>
                      <a:moveTo>
                        <a:pt x="6" y="1844"/>
                      </a:moveTo>
                      <a:lnTo>
                        <a:pt x="0" y="1847"/>
                      </a:lnTo>
                      <a:lnTo>
                        <a:pt x="2" y="1850"/>
                      </a:lnTo>
                      <a:lnTo>
                        <a:pt x="5" y="1850"/>
                      </a:lnTo>
                      <a:lnTo>
                        <a:pt x="9" y="1849"/>
                      </a:lnTo>
                      <a:lnTo>
                        <a:pt x="6" y="1844"/>
                      </a:lnTo>
                      <a:close/>
                      <a:moveTo>
                        <a:pt x="38" y="1810"/>
                      </a:moveTo>
                      <a:lnTo>
                        <a:pt x="42" y="1813"/>
                      </a:lnTo>
                      <a:lnTo>
                        <a:pt x="44" y="1818"/>
                      </a:lnTo>
                      <a:lnTo>
                        <a:pt x="42" y="1824"/>
                      </a:lnTo>
                      <a:lnTo>
                        <a:pt x="33" y="1827"/>
                      </a:lnTo>
                      <a:lnTo>
                        <a:pt x="24" y="1833"/>
                      </a:lnTo>
                      <a:lnTo>
                        <a:pt x="16" y="1836"/>
                      </a:lnTo>
                      <a:lnTo>
                        <a:pt x="15" y="1831"/>
                      </a:lnTo>
                      <a:lnTo>
                        <a:pt x="22" y="1824"/>
                      </a:lnTo>
                      <a:lnTo>
                        <a:pt x="28" y="1820"/>
                      </a:lnTo>
                      <a:lnTo>
                        <a:pt x="34" y="1815"/>
                      </a:lnTo>
                      <a:lnTo>
                        <a:pt x="38" y="1810"/>
                      </a:lnTo>
                      <a:close/>
                      <a:moveTo>
                        <a:pt x="817" y="1959"/>
                      </a:moveTo>
                      <a:lnTo>
                        <a:pt x="809" y="1961"/>
                      </a:lnTo>
                      <a:lnTo>
                        <a:pt x="802" y="1964"/>
                      </a:lnTo>
                      <a:lnTo>
                        <a:pt x="800" y="1972"/>
                      </a:lnTo>
                      <a:lnTo>
                        <a:pt x="803" y="1976"/>
                      </a:lnTo>
                      <a:lnTo>
                        <a:pt x="813" y="1975"/>
                      </a:lnTo>
                      <a:lnTo>
                        <a:pt x="821" y="1973"/>
                      </a:lnTo>
                      <a:lnTo>
                        <a:pt x="825" y="1969"/>
                      </a:lnTo>
                      <a:lnTo>
                        <a:pt x="825" y="1961"/>
                      </a:lnTo>
                      <a:lnTo>
                        <a:pt x="820" y="1959"/>
                      </a:lnTo>
                      <a:lnTo>
                        <a:pt x="817" y="1959"/>
                      </a:lnTo>
                      <a:close/>
                      <a:moveTo>
                        <a:pt x="410" y="2170"/>
                      </a:moveTo>
                      <a:lnTo>
                        <a:pt x="406" y="2172"/>
                      </a:lnTo>
                      <a:lnTo>
                        <a:pt x="404" y="2175"/>
                      </a:lnTo>
                      <a:lnTo>
                        <a:pt x="403" y="2178"/>
                      </a:lnTo>
                      <a:lnTo>
                        <a:pt x="402" y="2182"/>
                      </a:lnTo>
                      <a:lnTo>
                        <a:pt x="406" y="2184"/>
                      </a:lnTo>
                      <a:lnTo>
                        <a:pt x="410" y="2181"/>
                      </a:lnTo>
                      <a:lnTo>
                        <a:pt x="415" y="2178"/>
                      </a:lnTo>
                      <a:lnTo>
                        <a:pt x="415" y="2173"/>
                      </a:lnTo>
                      <a:lnTo>
                        <a:pt x="414" y="2170"/>
                      </a:lnTo>
                      <a:lnTo>
                        <a:pt x="410" y="2170"/>
                      </a:lnTo>
                      <a:close/>
                      <a:moveTo>
                        <a:pt x="401" y="2159"/>
                      </a:moveTo>
                      <a:lnTo>
                        <a:pt x="399" y="2162"/>
                      </a:lnTo>
                      <a:lnTo>
                        <a:pt x="396" y="2163"/>
                      </a:lnTo>
                      <a:lnTo>
                        <a:pt x="396" y="2167"/>
                      </a:lnTo>
                      <a:lnTo>
                        <a:pt x="401" y="2168"/>
                      </a:lnTo>
                      <a:lnTo>
                        <a:pt x="405" y="2164"/>
                      </a:lnTo>
                      <a:lnTo>
                        <a:pt x="404" y="2160"/>
                      </a:lnTo>
                      <a:lnTo>
                        <a:pt x="401" y="2159"/>
                      </a:lnTo>
                      <a:close/>
                      <a:moveTo>
                        <a:pt x="387" y="2185"/>
                      </a:moveTo>
                      <a:lnTo>
                        <a:pt x="392" y="2185"/>
                      </a:lnTo>
                      <a:lnTo>
                        <a:pt x="395" y="2188"/>
                      </a:lnTo>
                      <a:lnTo>
                        <a:pt x="393" y="2193"/>
                      </a:lnTo>
                      <a:lnTo>
                        <a:pt x="388" y="2196"/>
                      </a:lnTo>
                      <a:lnTo>
                        <a:pt x="383" y="2199"/>
                      </a:lnTo>
                      <a:lnTo>
                        <a:pt x="377" y="2201"/>
                      </a:lnTo>
                      <a:lnTo>
                        <a:pt x="372" y="2203"/>
                      </a:lnTo>
                      <a:lnTo>
                        <a:pt x="370" y="2199"/>
                      </a:lnTo>
                      <a:lnTo>
                        <a:pt x="374" y="2195"/>
                      </a:lnTo>
                      <a:lnTo>
                        <a:pt x="378" y="2190"/>
                      </a:lnTo>
                      <a:lnTo>
                        <a:pt x="385" y="2189"/>
                      </a:lnTo>
                      <a:lnTo>
                        <a:pt x="387" y="2185"/>
                      </a:lnTo>
                      <a:close/>
                      <a:moveTo>
                        <a:pt x="371" y="2173"/>
                      </a:moveTo>
                      <a:lnTo>
                        <a:pt x="370" y="2177"/>
                      </a:lnTo>
                      <a:lnTo>
                        <a:pt x="373" y="2180"/>
                      </a:lnTo>
                      <a:lnTo>
                        <a:pt x="376" y="2178"/>
                      </a:lnTo>
                      <a:lnTo>
                        <a:pt x="375" y="2175"/>
                      </a:lnTo>
                      <a:lnTo>
                        <a:pt x="371" y="2173"/>
                      </a:lnTo>
                      <a:close/>
                      <a:moveTo>
                        <a:pt x="362" y="2159"/>
                      </a:moveTo>
                      <a:lnTo>
                        <a:pt x="358" y="2161"/>
                      </a:lnTo>
                      <a:lnTo>
                        <a:pt x="355" y="2162"/>
                      </a:lnTo>
                      <a:lnTo>
                        <a:pt x="354" y="2166"/>
                      </a:lnTo>
                      <a:lnTo>
                        <a:pt x="358" y="2165"/>
                      </a:lnTo>
                      <a:lnTo>
                        <a:pt x="363" y="2163"/>
                      </a:lnTo>
                      <a:lnTo>
                        <a:pt x="362" y="2159"/>
                      </a:lnTo>
                      <a:close/>
                      <a:moveTo>
                        <a:pt x="381" y="2153"/>
                      </a:moveTo>
                      <a:lnTo>
                        <a:pt x="376" y="2156"/>
                      </a:lnTo>
                      <a:lnTo>
                        <a:pt x="375" y="2158"/>
                      </a:lnTo>
                      <a:lnTo>
                        <a:pt x="380" y="2160"/>
                      </a:lnTo>
                      <a:lnTo>
                        <a:pt x="385" y="2157"/>
                      </a:lnTo>
                      <a:lnTo>
                        <a:pt x="385" y="2154"/>
                      </a:lnTo>
                      <a:lnTo>
                        <a:pt x="381" y="2153"/>
                      </a:lnTo>
                      <a:close/>
                      <a:moveTo>
                        <a:pt x="393" y="2148"/>
                      </a:moveTo>
                      <a:lnTo>
                        <a:pt x="390" y="2149"/>
                      </a:lnTo>
                      <a:lnTo>
                        <a:pt x="390" y="2152"/>
                      </a:lnTo>
                      <a:lnTo>
                        <a:pt x="396" y="2154"/>
                      </a:lnTo>
                      <a:lnTo>
                        <a:pt x="397" y="2150"/>
                      </a:lnTo>
                      <a:lnTo>
                        <a:pt x="393" y="2148"/>
                      </a:lnTo>
                      <a:close/>
                      <a:moveTo>
                        <a:pt x="384" y="2048"/>
                      </a:moveTo>
                      <a:lnTo>
                        <a:pt x="379" y="2050"/>
                      </a:lnTo>
                      <a:lnTo>
                        <a:pt x="373" y="2055"/>
                      </a:lnTo>
                      <a:lnTo>
                        <a:pt x="370" y="2058"/>
                      </a:lnTo>
                      <a:lnTo>
                        <a:pt x="375" y="2059"/>
                      </a:lnTo>
                      <a:lnTo>
                        <a:pt x="381" y="2055"/>
                      </a:lnTo>
                      <a:lnTo>
                        <a:pt x="390" y="2052"/>
                      </a:lnTo>
                      <a:lnTo>
                        <a:pt x="391" y="2048"/>
                      </a:lnTo>
                      <a:lnTo>
                        <a:pt x="384" y="2048"/>
                      </a:lnTo>
                      <a:close/>
                      <a:moveTo>
                        <a:pt x="245" y="2083"/>
                      </a:moveTo>
                      <a:lnTo>
                        <a:pt x="239" y="2086"/>
                      </a:lnTo>
                      <a:lnTo>
                        <a:pt x="237" y="2092"/>
                      </a:lnTo>
                      <a:lnTo>
                        <a:pt x="240" y="2095"/>
                      </a:lnTo>
                      <a:lnTo>
                        <a:pt x="248" y="2094"/>
                      </a:lnTo>
                      <a:lnTo>
                        <a:pt x="258" y="2092"/>
                      </a:lnTo>
                      <a:lnTo>
                        <a:pt x="270" y="2091"/>
                      </a:lnTo>
                      <a:lnTo>
                        <a:pt x="274" y="2087"/>
                      </a:lnTo>
                      <a:lnTo>
                        <a:pt x="282" y="2080"/>
                      </a:lnTo>
                      <a:lnTo>
                        <a:pt x="277" y="2078"/>
                      </a:lnTo>
                      <a:lnTo>
                        <a:pt x="266" y="2081"/>
                      </a:lnTo>
                      <a:lnTo>
                        <a:pt x="255" y="2081"/>
                      </a:lnTo>
                      <a:lnTo>
                        <a:pt x="245" y="2083"/>
                      </a:lnTo>
                      <a:close/>
                      <a:moveTo>
                        <a:pt x="141" y="2094"/>
                      </a:moveTo>
                      <a:lnTo>
                        <a:pt x="135" y="2100"/>
                      </a:lnTo>
                      <a:lnTo>
                        <a:pt x="127" y="2105"/>
                      </a:lnTo>
                      <a:lnTo>
                        <a:pt x="125" y="2109"/>
                      </a:lnTo>
                      <a:lnTo>
                        <a:pt x="134" y="2111"/>
                      </a:lnTo>
                      <a:lnTo>
                        <a:pt x="141" y="2106"/>
                      </a:lnTo>
                      <a:lnTo>
                        <a:pt x="148" y="2103"/>
                      </a:lnTo>
                      <a:lnTo>
                        <a:pt x="152" y="2100"/>
                      </a:lnTo>
                      <a:lnTo>
                        <a:pt x="152" y="2094"/>
                      </a:lnTo>
                      <a:lnTo>
                        <a:pt x="145" y="2095"/>
                      </a:lnTo>
                      <a:lnTo>
                        <a:pt x="141" y="2094"/>
                      </a:lnTo>
                      <a:close/>
                      <a:moveTo>
                        <a:pt x="384" y="1424"/>
                      </a:moveTo>
                      <a:lnTo>
                        <a:pt x="380" y="1428"/>
                      </a:lnTo>
                      <a:lnTo>
                        <a:pt x="385" y="1431"/>
                      </a:lnTo>
                      <a:lnTo>
                        <a:pt x="390" y="1426"/>
                      </a:lnTo>
                      <a:lnTo>
                        <a:pt x="384" y="1424"/>
                      </a:lnTo>
                      <a:close/>
                      <a:moveTo>
                        <a:pt x="193" y="966"/>
                      </a:moveTo>
                      <a:lnTo>
                        <a:pt x="197" y="968"/>
                      </a:lnTo>
                      <a:lnTo>
                        <a:pt x="197" y="971"/>
                      </a:lnTo>
                      <a:lnTo>
                        <a:pt x="193" y="973"/>
                      </a:lnTo>
                      <a:lnTo>
                        <a:pt x="192" y="970"/>
                      </a:lnTo>
                      <a:lnTo>
                        <a:pt x="193" y="966"/>
                      </a:lnTo>
                      <a:close/>
                      <a:moveTo>
                        <a:pt x="154" y="967"/>
                      </a:moveTo>
                      <a:lnTo>
                        <a:pt x="151" y="971"/>
                      </a:lnTo>
                      <a:lnTo>
                        <a:pt x="155" y="976"/>
                      </a:lnTo>
                      <a:lnTo>
                        <a:pt x="160" y="978"/>
                      </a:lnTo>
                      <a:lnTo>
                        <a:pt x="168" y="976"/>
                      </a:lnTo>
                      <a:lnTo>
                        <a:pt x="175" y="976"/>
                      </a:lnTo>
                      <a:lnTo>
                        <a:pt x="178" y="970"/>
                      </a:lnTo>
                      <a:lnTo>
                        <a:pt x="179" y="964"/>
                      </a:lnTo>
                      <a:lnTo>
                        <a:pt x="173" y="962"/>
                      </a:lnTo>
                      <a:lnTo>
                        <a:pt x="168" y="964"/>
                      </a:lnTo>
                      <a:lnTo>
                        <a:pt x="159" y="967"/>
                      </a:lnTo>
                      <a:lnTo>
                        <a:pt x="154" y="967"/>
                      </a:lnTo>
                      <a:close/>
                      <a:moveTo>
                        <a:pt x="143" y="975"/>
                      </a:moveTo>
                      <a:lnTo>
                        <a:pt x="137" y="979"/>
                      </a:lnTo>
                      <a:lnTo>
                        <a:pt x="140" y="985"/>
                      </a:lnTo>
                      <a:lnTo>
                        <a:pt x="145" y="983"/>
                      </a:lnTo>
                      <a:lnTo>
                        <a:pt x="148" y="979"/>
                      </a:lnTo>
                      <a:lnTo>
                        <a:pt x="143" y="975"/>
                      </a:lnTo>
                      <a:close/>
                      <a:moveTo>
                        <a:pt x="181" y="1020"/>
                      </a:moveTo>
                      <a:lnTo>
                        <a:pt x="176" y="1023"/>
                      </a:lnTo>
                      <a:lnTo>
                        <a:pt x="179" y="1027"/>
                      </a:lnTo>
                      <a:lnTo>
                        <a:pt x="184" y="1027"/>
                      </a:lnTo>
                      <a:lnTo>
                        <a:pt x="184" y="1022"/>
                      </a:lnTo>
                      <a:lnTo>
                        <a:pt x="181" y="1020"/>
                      </a:lnTo>
                      <a:close/>
                      <a:moveTo>
                        <a:pt x="323" y="1184"/>
                      </a:moveTo>
                      <a:lnTo>
                        <a:pt x="325" y="1185"/>
                      </a:lnTo>
                      <a:lnTo>
                        <a:pt x="325" y="1190"/>
                      </a:lnTo>
                      <a:lnTo>
                        <a:pt x="325" y="1195"/>
                      </a:lnTo>
                      <a:lnTo>
                        <a:pt x="322" y="1196"/>
                      </a:lnTo>
                      <a:lnTo>
                        <a:pt x="317" y="1193"/>
                      </a:lnTo>
                      <a:lnTo>
                        <a:pt x="317" y="1189"/>
                      </a:lnTo>
                      <a:lnTo>
                        <a:pt x="323" y="1184"/>
                      </a:lnTo>
                      <a:close/>
                      <a:moveTo>
                        <a:pt x="343" y="1166"/>
                      </a:moveTo>
                      <a:lnTo>
                        <a:pt x="346" y="1166"/>
                      </a:lnTo>
                      <a:lnTo>
                        <a:pt x="349" y="1169"/>
                      </a:lnTo>
                      <a:lnTo>
                        <a:pt x="349" y="1176"/>
                      </a:lnTo>
                      <a:lnTo>
                        <a:pt x="350" y="1180"/>
                      </a:lnTo>
                      <a:lnTo>
                        <a:pt x="350" y="1188"/>
                      </a:lnTo>
                      <a:lnTo>
                        <a:pt x="348" y="1193"/>
                      </a:lnTo>
                      <a:lnTo>
                        <a:pt x="346" y="1196"/>
                      </a:lnTo>
                      <a:lnTo>
                        <a:pt x="341" y="1196"/>
                      </a:lnTo>
                      <a:lnTo>
                        <a:pt x="335" y="1195"/>
                      </a:lnTo>
                      <a:lnTo>
                        <a:pt x="331" y="1194"/>
                      </a:lnTo>
                      <a:lnTo>
                        <a:pt x="329" y="1190"/>
                      </a:lnTo>
                      <a:lnTo>
                        <a:pt x="329" y="1185"/>
                      </a:lnTo>
                      <a:lnTo>
                        <a:pt x="328" y="1179"/>
                      </a:lnTo>
                      <a:lnTo>
                        <a:pt x="330" y="1175"/>
                      </a:lnTo>
                      <a:lnTo>
                        <a:pt x="338" y="1171"/>
                      </a:lnTo>
                      <a:lnTo>
                        <a:pt x="343" y="1166"/>
                      </a:lnTo>
                      <a:close/>
                      <a:moveTo>
                        <a:pt x="337" y="1152"/>
                      </a:moveTo>
                      <a:lnTo>
                        <a:pt x="334" y="1155"/>
                      </a:lnTo>
                      <a:lnTo>
                        <a:pt x="331" y="1156"/>
                      </a:lnTo>
                      <a:lnTo>
                        <a:pt x="334" y="1161"/>
                      </a:lnTo>
                      <a:lnTo>
                        <a:pt x="339" y="1164"/>
                      </a:lnTo>
                      <a:lnTo>
                        <a:pt x="343" y="1162"/>
                      </a:lnTo>
                      <a:lnTo>
                        <a:pt x="351" y="1157"/>
                      </a:lnTo>
                      <a:lnTo>
                        <a:pt x="353" y="1154"/>
                      </a:lnTo>
                      <a:lnTo>
                        <a:pt x="349" y="1153"/>
                      </a:lnTo>
                      <a:lnTo>
                        <a:pt x="342" y="1153"/>
                      </a:lnTo>
                      <a:lnTo>
                        <a:pt x="337" y="1152"/>
                      </a:lnTo>
                      <a:close/>
                      <a:moveTo>
                        <a:pt x="282" y="1147"/>
                      </a:moveTo>
                      <a:lnTo>
                        <a:pt x="280" y="1149"/>
                      </a:lnTo>
                      <a:lnTo>
                        <a:pt x="278" y="1153"/>
                      </a:lnTo>
                      <a:lnTo>
                        <a:pt x="282" y="1158"/>
                      </a:lnTo>
                      <a:lnTo>
                        <a:pt x="286" y="1161"/>
                      </a:lnTo>
                      <a:lnTo>
                        <a:pt x="288" y="1159"/>
                      </a:lnTo>
                      <a:lnTo>
                        <a:pt x="286" y="1154"/>
                      </a:lnTo>
                      <a:lnTo>
                        <a:pt x="284" y="1150"/>
                      </a:lnTo>
                      <a:lnTo>
                        <a:pt x="282" y="1147"/>
                      </a:lnTo>
                      <a:close/>
                      <a:moveTo>
                        <a:pt x="353" y="1258"/>
                      </a:moveTo>
                      <a:lnTo>
                        <a:pt x="357" y="1260"/>
                      </a:lnTo>
                      <a:lnTo>
                        <a:pt x="355" y="1268"/>
                      </a:lnTo>
                      <a:lnTo>
                        <a:pt x="349" y="1274"/>
                      </a:lnTo>
                      <a:lnTo>
                        <a:pt x="338" y="1269"/>
                      </a:lnTo>
                      <a:lnTo>
                        <a:pt x="332" y="1260"/>
                      </a:lnTo>
                      <a:lnTo>
                        <a:pt x="324" y="1255"/>
                      </a:lnTo>
                      <a:lnTo>
                        <a:pt x="315" y="1251"/>
                      </a:lnTo>
                      <a:lnTo>
                        <a:pt x="297" y="1246"/>
                      </a:lnTo>
                      <a:lnTo>
                        <a:pt x="287" y="1241"/>
                      </a:lnTo>
                      <a:lnTo>
                        <a:pt x="291" y="1237"/>
                      </a:lnTo>
                      <a:lnTo>
                        <a:pt x="300" y="1235"/>
                      </a:lnTo>
                      <a:lnTo>
                        <a:pt x="306" y="1237"/>
                      </a:lnTo>
                      <a:lnTo>
                        <a:pt x="312" y="1239"/>
                      </a:lnTo>
                      <a:lnTo>
                        <a:pt x="316" y="1244"/>
                      </a:lnTo>
                      <a:lnTo>
                        <a:pt x="324" y="1248"/>
                      </a:lnTo>
                      <a:lnTo>
                        <a:pt x="330" y="1244"/>
                      </a:lnTo>
                      <a:lnTo>
                        <a:pt x="339" y="1249"/>
                      </a:lnTo>
                      <a:lnTo>
                        <a:pt x="345" y="1254"/>
                      </a:lnTo>
                      <a:lnTo>
                        <a:pt x="342" y="1261"/>
                      </a:lnTo>
                      <a:lnTo>
                        <a:pt x="348" y="1261"/>
                      </a:lnTo>
                      <a:lnTo>
                        <a:pt x="353" y="1258"/>
                      </a:lnTo>
                      <a:close/>
                      <a:moveTo>
                        <a:pt x="372" y="1269"/>
                      </a:moveTo>
                      <a:lnTo>
                        <a:pt x="365" y="1271"/>
                      </a:lnTo>
                      <a:lnTo>
                        <a:pt x="360" y="1277"/>
                      </a:lnTo>
                      <a:lnTo>
                        <a:pt x="359" y="1283"/>
                      </a:lnTo>
                      <a:lnTo>
                        <a:pt x="364" y="1288"/>
                      </a:lnTo>
                      <a:lnTo>
                        <a:pt x="371" y="1285"/>
                      </a:lnTo>
                      <a:lnTo>
                        <a:pt x="375" y="1278"/>
                      </a:lnTo>
                      <a:lnTo>
                        <a:pt x="378" y="1272"/>
                      </a:lnTo>
                      <a:lnTo>
                        <a:pt x="372" y="1269"/>
                      </a:lnTo>
                      <a:close/>
                      <a:moveTo>
                        <a:pt x="388" y="1286"/>
                      </a:moveTo>
                      <a:lnTo>
                        <a:pt x="382" y="1287"/>
                      </a:lnTo>
                      <a:lnTo>
                        <a:pt x="377" y="1294"/>
                      </a:lnTo>
                      <a:lnTo>
                        <a:pt x="383" y="1298"/>
                      </a:lnTo>
                      <a:lnTo>
                        <a:pt x="392" y="1298"/>
                      </a:lnTo>
                      <a:lnTo>
                        <a:pt x="397" y="1290"/>
                      </a:lnTo>
                      <a:lnTo>
                        <a:pt x="393" y="1287"/>
                      </a:lnTo>
                      <a:lnTo>
                        <a:pt x="388" y="1286"/>
                      </a:lnTo>
                      <a:close/>
                      <a:moveTo>
                        <a:pt x="513" y="643"/>
                      </a:moveTo>
                      <a:lnTo>
                        <a:pt x="512" y="646"/>
                      </a:lnTo>
                      <a:lnTo>
                        <a:pt x="517" y="650"/>
                      </a:lnTo>
                      <a:lnTo>
                        <a:pt x="521" y="653"/>
                      </a:lnTo>
                      <a:lnTo>
                        <a:pt x="528" y="657"/>
                      </a:lnTo>
                      <a:lnTo>
                        <a:pt x="529" y="652"/>
                      </a:lnTo>
                      <a:lnTo>
                        <a:pt x="528" y="647"/>
                      </a:lnTo>
                      <a:lnTo>
                        <a:pt x="520" y="644"/>
                      </a:lnTo>
                      <a:lnTo>
                        <a:pt x="513" y="643"/>
                      </a:lnTo>
                      <a:close/>
                      <a:moveTo>
                        <a:pt x="207" y="641"/>
                      </a:moveTo>
                      <a:lnTo>
                        <a:pt x="209" y="643"/>
                      </a:lnTo>
                      <a:lnTo>
                        <a:pt x="208" y="646"/>
                      </a:lnTo>
                      <a:lnTo>
                        <a:pt x="204" y="647"/>
                      </a:lnTo>
                      <a:lnTo>
                        <a:pt x="203" y="643"/>
                      </a:lnTo>
                      <a:lnTo>
                        <a:pt x="207" y="641"/>
                      </a:lnTo>
                      <a:close/>
                      <a:moveTo>
                        <a:pt x="176" y="690"/>
                      </a:moveTo>
                      <a:lnTo>
                        <a:pt x="179" y="692"/>
                      </a:lnTo>
                      <a:lnTo>
                        <a:pt x="177" y="696"/>
                      </a:lnTo>
                      <a:lnTo>
                        <a:pt x="172" y="698"/>
                      </a:lnTo>
                      <a:lnTo>
                        <a:pt x="167" y="699"/>
                      </a:lnTo>
                      <a:lnTo>
                        <a:pt x="165" y="696"/>
                      </a:lnTo>
                      <a:lnTo>
                        <a:pt x="170" y="692"/>
                      </a:lnTo>
                      <a:lnTo>
                        <a:pt x="176" y="690"/>
                      </a:lnTo>
                      <a:close/>
                      <a:moveTo>
                        <a:pt x="180" y="679"/>
                      </a:moveTo>
                      <a:lnTo>
                        <a:pt x="178" y="683"/>
                      </a:lnTo>
                      <a:lnTo>
                        <a:pt x="179" y="687"/>
                      </a:lnTo>
                      <a:lnTo>
                        <a:pt x="181" y="690"/>
                      </a:lnTo>
                      <a:lnTo>
                        <a:pt x="184" y="688"/>
                      </a:lnTo>
                      <a:lnTo>
                        <a:pt x="185" y="684"/>
                      </a:lnTo>
                      <a:lnTo>
                        <a:pt x="183" y="682"/>
                      </a:lnTo>
                      <a:lnTo>
                        <a:pt x="180" y="679"/>
                      </a:lnTo>
                      <a:close/>
                      <a:moveTo>
                        <a:pt x="284" y="769"/>
                      </a:moveTo>
                      <a:lnTo>
                        <a:pt x="284" y="773"/>
                      </a:lnTo>
                      <a:lnTo>
                        <a:pt x="288" y="776"/>
                      </a:lnTo>
                      <a:lnTo>
                        <a:pt x="289" y="771"/>
                      </a:lnTo>
                      <a:lnTo>
                        <a:pt x="288" y="769"/>
                      </a:lnTo>
                      <a:lnTo>
                        <a:pt x="284" y="769"/>
                      </a:lnTo>
                      <a:close/>
                      <a:moveTo>
                        <a:pt x="274" y="760"/>
                      </a:moveTo>
                      <a:lnTo>
                        <a:pt x="271" y="763"/>
                      </a:lnTo>
                      <a:lnTo>
                        <a:pt x="272" y="767"/>
                      </a:lnTo>
                      <a:lnTo>
                        <a:pt x="277" y="768"/>
                      </a:lnTo>
                      <a:lnTo>
                        <a:pt x="277" y="764"/>
                      </a:lnTo>
                      <a:lnTo>
                        <a:pt x="274" y="760"/>
                      </a:lnTo>
                      <a:close/>
                      <a:moveTo>
                        <a:pt x="186" y="715"/>
                      </a:moveTo>
                      <a:lnTo>
                        <a:pt x="190" y="717"/>
                      </a:lnTo>
                      <a:lnTo>
                        <a:pt x="189" y="722"/>
                      </a:lnTo>
                      <a:lnTo>
                        <a:pt x="186" y="724"/>
                      </a:lnTo>
                      <a:lnTo>
                        <a:pt x="183" y="721"/>
                      </a:lnTo>
                      <a:lnTo>
                        <a:pt x="184" y="717"/>
                      </a:lnTo>
                      <a:lnTo>
                        <a:pt x="186" y="715"/>
                      </a:lnTo>
                      <a:close/>
                      <a:moveTo>
                        <a:pt x="223" y="745"/>
                      </a:moveTo>
                      <a:lnTo>
                        <a:pt x="227" y="748"/>
                      </a:lnTo>
                      <a:lnTo>
                        <a:pt x="231" y="751"/>
                      </a:lnTo>
                      <a:lnTo>
                        <a:pt x="244" y="752"/>
                      </a:lnTo>
                      <a:lnTo>
                        <a:pt x="248" y="748"/>
                      </a:lnTo>
                      <a:lnTo>
                        <a:pt x="253" y="747"/>
                      </a:lnTo>
                      <a:lnTo>
                        <a:pt x="258" y="755"/>
                      </a:lnTo>
                      <a:lnTo>
                        <a:pt x="262" y="760"/>
                      </a:lnTo>
                      <a:lnTo>
                        <a:pt x="263" y="767"/>
                      </a:lnTo>
                      <a:lnTo>
                        <a:pt x="259" y="775"/>
                      </a:lnTo>
                      <a:lnTo>
                        <a:pt x="257" y="780"/>
                      </a:lnTo>
                      <a:lnTo>
                        <a:pt x="255" y="786"/>
                      </a:lnTo>
                      <a:lnTo>
                        <a:pt x="257" y="789"/>
                      </a:lnTo>
                      <a:lnTo>
                        <a:pt x="261" y="786"/>
                      </a:lnTo>
                      <a:lnTo>
                        <a:pt x="264" y="785"/>
                      </a:lnTo>
                      <a:lnTo>
                        <a:pt x="267" y="786"/>
                      </a:lnTo>
                      <a:lnTo>
                        <a:pt x="268" y="794"/>
                      </a:lnTo>
                      <a:lnTo>
                        <a:pt x="265" y="800"/>
                      </a:lnTo>
                      <a:lnTo>
                        <a:pt x="266" y="803"/>
                      </a:lnTo>
                      <a:lnTo>
                        <a:pt x="265" y="809"/>
                      </a:lnTo>
                      <a:lnTo>
                        <a:pt x="260" y="814"/>
                      </a:lnTo>
                      <a:lnTo>
                        <a:pt x="260" y="823"/>
                      </a:lnTo>
                      <a:lnTo>
                        <a:pt x="258" y="829"/>
                      </a:lnTo>
                      <a:lnTo>
                        <a:pt x="256" y="832"/>
                      </a:lnTo>
                      <a:lnTo>
                        <a:pt x="247" y="829"/>
                      </a:lnTo>
                      <a:lnTo>
                        <a:pt x="244" y="821"/>
                      </a:lnTo>
                      <a:lnTo>
                        <a:pt x="238" y="814"/>
                      </a:lnTo>
                      <a:lnTo>
                        <a:pt x="231" y="810"/>
                      </a:lnTo>
                      <a:lnTo>
                        <a:pt x="224" y="810"/>
                      </a:lnTo>
                      <a:lnTo>
                        <a:pt x="222" y="806"/>
                      </a:lnTo>
                      <a:lnTo>
                        <a:pt x="222" y="796"/>
                      </a:lnTo>
                      <a:lnTo>
                        <a:pt x="225" y="791"/>
                      </a:lnTo>
                      <a:lnTo>
                        <a:pt x="226" y="786"/>
                      </a:lnTo>
                      <a:lnTo>
                        <a:pt x="223" y="777"/>
                      </a:lnTo>
                      <a:lnTo>
                        <a:pt x="218" y="777"/>
                      </a:lnTo>
                      <a:lnTo>
                        <a:pt x="208" y="780"/>
                      </a:lnTo>
                      <a:lnTo>
                        <a:pt x="200" y="780"/>
                      </a:lnTo>
                      <a:lnTo>
                        <a:pt x="193" y="779"/>
                      </a:lnTo>
                      <a:lnTo>
                        <a:pt x="184" y="781"/>
                      </a:lnTo>
                      <a:lnTo>
                        <a:pt x="180" y="781"/>
                      </a:lnTo>
                      <a:lnTo>
                        <a:pt x="176" y="779"/>
                      </a:lnTo>
                      <a:lnTo>
                        <a:pt x="169" y="776"/>
                      </a:lnTo>
                      <a:lnTo>
                        <a:pt x="164" y="775"/>
                      </a:lnTo>
                      <a:lnTo>
                        <a:pt x="159" y="775"/>
                      </a:lnTo>
                      <a:lnTo>
                        <a:pt x="156" y="773"/>
                      </a:lnTo>
                      <a:lnTo>
                        <a:pt x="157" y="769"/>
                      </a:lnTo>
                      <a:lnTo>
                        <a:pt x="163" y="767"/>
                      </a:lnTo>
                      <a:lnTo>
                        <a:pt x="170" y="768"/>
                      </a:lnTo>
                      <a:lnTo>
                        <a:pt x="177" y="765"/>
                      </a:lnTo>
                      <a:lnTo>
                        <a:pt x="179" y="760"/>
                      </a:lnTo>
                      <a:lnTo>
                        <a:pt x="180" y="755"/>
                      </a:lnTo>
                      <a:lnTo>
                        <a:pt x="180" y="753"/>
                      </a:lnTo>
                      <a:lnTo>
                        <a:pt x="192" y="752"/>
                      </a:lnTo>
                      <a:lnTo>
                        <a:pt x="196" y="755"/>
                      </a:lnTo>
                      <a:lnTo>
                        <a:pt x="207" y="758"/>
                      </a:lnTo>
                      <a:lnTo>
                        <a:pt x="212" y="758"/>
                      </a:lnTo>
                      <a:lnTo>
                        <a:pt x="215" y="751"/>
                      </a:lnTo>
                      <a:lnTo>
                        <a:pt x="218" y="748"/>
                      </a:lnTo>
                      <a:lnTo>
                        <a:pt x="223" y="745"/>
                      </a:lnTo>
                      <a:close/>
                      <a:moveTo>
                        <a:pt x="360" y="854"/>
                      </a:moveTo>
                      <a:lnTo>
                        <a:pt x="363" y="857"/>
                      </a:lnTo>
                      <a:lnTo>
                        <a:pt x="359" y="858"/>
                      </a:lnTo>
                      <a:lnTo>
                        <a:pt x="360" y="854"/>
                      </a:lnTo>
                      <a:close/>
                      <a:moveTo>
                        <a:pt x="352" y="849"/>
                      </a:moveTo>
                      <a:lnTo>
                        <a:pt x="354" y="850"/>
                      </a:lnTo>
                      <a:lnTo>
                        <a:pt x="353" y="855"/>
                      </a:lnTo>
                      <a:lnTo>
                        <a:pt x="348" y="854"/>
                      </a:lnTo>
                      <a:lnTo>
                        <a:pt x="352" y="849"/>
                      </a:lnTo>
                      <a:close/>
                      <a:moveTo>
                        <a:pt x="224" y="917"/>
                      </a:moveTo>
                      <a:lnTo>
                        <a:pt x="228" y="918"/>
                      </a:lnTo>
                      <a:lnTo>
                        <a:pt x="230" y="921"/>
                      </a:lnTo>
                      <a:lnTo>
                        <a:pt x="232" y="924"/>
                      </a:lnTo>
                      <a:lnTo>
                        <a:pt x="230" y="927"/>
                      </a:lnTo>
                      <a:lnTo>
                        <a:pt x="226" y="925"/>
                      </a:lnTo>
                      <a:lnTo>
                        <a:pt x="224" y="921"/>
                      </a:lnTo>
                      <a:lnTo>
                        <a:pt x="224" y="918"/>
                      </a:lnTo>
                      <a:lnTo>
                        <a:pt x="224" y="917"/>
                      </a:lnTo>
                      <a:close/>
                      <a:moveTo>
                        <a:pt x="204" y="920"/>
                      </a:moveTo>
                      <a:lnTo>
                        <a:pt x="207" y="921"/>
                      </a:lnTo>
                      <a:lnTo>
                        <a:pt x="209" y="923"/>
                      </a:lnTo>
                      <a:lnTo>
                        <a:pt x="207" y="927"/>
                      </a:lnTo>
                      <a:lnTo>
                        <a:pt x="205" y="932"/>
                      </a:lnTo>
                      <a:lnTo>
                        <a:pt x="197" y="933"/>
                      </a:lnTo>
                      <a:lnTo>
                        <a:pt x="194" y="931"/>
                      </a:lnTo>
                      <a:lnTo>
                        <a:pt x="195" y="926"/>
                      </a:lnTo>
                      <a:lnTo>
                        <a:pt x="200" y="923"/>
                      </a:lnTo>
                      <a:lnTo>
                        <a:pt x="204" y="920"/>
                      </a:lnTo>
                      <a:close/>
                      <a:moveTo>
                        <a:pt x="244" y="858"/>
                      </a:moveTo>
                      <a:lnTo>
                        <a:pt x="248" y="861"/>
                      </a:lnTo>
                      <a:lnTo>
                        <a:pt x="250" y="864"/>
                      </a:lnTo>
                      <a:lnTo>
                        <a:pt x="254" y="868"/>
                      </a:lnTo>
                      <a:lnTo>
                        <a:pt x="257" y="871"/>
                      </a:lnTo>
                      <a:lnTo>
                        <a:pt x="254" y="876"/>
                      </a:lnTo>
                      <a:lnTo>
                        <a:pt x="249" y="877"/>
                      </a:lnTo>
                      <a:lnTo>
                        <a:pt x="237" y="878"/>
                      </a:lnTo>
                      <a:lnTo>
                        <a:pt x="229" y="879"/>
                      </a:lnTo>
                      <a:lnTo>
                        <a:pt x="224" y="879"/>
                      </a:lnTo>
                      <a:lnTo>
                        <a:pt x="223" y="875"/>
                      </a:lnTo>
                      <a:lnTo>
                        <a:pt x="226" y="871"/>
                      </a:lnTo>
                      <a:lnTo>
                        <a:pt x="234" y="867"/>
                      </a:lnTo>
                      <a:lnTo>
                        <a:pt x="240" y="862"/>
                      </a:lnTo>
                      <a:lnTo>
                        <a:pt x="244" y="858"/>
                      </a:lnTo>
                      <a:close/>
                      <a:moveTo>
                        <a:pt x="818" y="59"/>
                      </a:moveTo>
                      <a:lnTo>
                        <a:pt x="822" y="59"/>
                      </a:lnTo>
                      <a:lnTo>
                        <a:pt x="826" y="63"/>
                      </a:lnTo>
                      <a:lnTo>
                        <a:pt x="837" y="68"/>
                      </a:lnTo>
                      <a:lnTo>
                        <a:pt x="841" y="73"/>
                      </a:lnTo>
                      <a:lnTo>
                        <a:pt x="833" y="75"/>
                      </a:lnTo>
                      <a:lnTo>
                        <a:pt x="825" y="71"/>
                      </a:lnTo>
                      <a:lnTo>
                        <a:pt x="820" y="67"/>
                      </a:lnTo>
                      <a:lnTo>
                        <a:pt x="818" y="59"/>
                      </a:lnTo>
                      <a:close/>
                      <a:moveTo>
                        <a:pt x="1055" y="166"/>
                      </a:moveTo>
                      <a:lnTo>
                        <a:pt x="1061" y="169"/>
                      </a:lnTo>
                      <a:lnTo>
                        <a:pt x="1067" y="175"/>
                      </a:lnTo>
                      <a:lnTo>
                        <a:pt x="1067" y="180"/>
                      </a:lnTo>
                      <a:lnTo>
                        <a:pt x="1065" y="183"/>
                      </a:lnTo>
                      <a:lnTo>
                        <a:pt x="1060" y="185"/>
                      </a:lnTo>
                      <a:lnTo>
                        <a:pt x="1053" y="180"/>
                      </a:lnTo>
                      <a:lnTo>
                        <a:pt x="1047" y="177"/>
                      </a:lnTo>
                      <a:lnTo>
                        <a:pt x="1048" y="170"/>
                      </a:lnTo>
                      <a:lnTo>
                        <a:pt x="1055" y="166"/>
                      </a:lnTo>
                      <a:close/>
                      <a:moveTo>
                        <a:pt x="840" y="110"/>
                      </a:moveTo>
                      <a:lnTo>
                        <a:pt x="844" y="110"/>
                      </a:lnTo>
                      <a:lnTo>
                        <a:pt x="846" y="114"/>
                      </a:lnTo>
                      <a:lnTo>
                        <a:pt x="848" y="117"/>
                      </a:lnTo>
                      <a:lnTo>
                        <a:pt x="846" y="119"/>
                      </a:lnTo>
                      <a:lnTo>
                        <a:pt x="840" y="117"/>
                      </a:lnTo>
                      <a:lnTo>
                        <a:pt x="840" y="110"/>
                      </a:lnTo>
                      <a:close/>
                      <a:moveTo>
                        <a:pt x="780" y="160"/>
                      </a:moveTo>
                      <a:lnTo>
                        <a:pt x="785" y="161"/>
                      </a:lnTo>
                      <a:lnTo>
                        <a:pt x="786" y="166"/>
                      </a:lnTo>
                      <a:lnTo>
                        <a:pt x="782" y="168"/>
                      </a:lnTo>
                      <a:lnTo>
                        <a:pt x="779" y="166"/>
                      </a:lnTo>
                      <a:lnTo>
                        <a:pt x="780" y="160"/>
                      </a:lnTo>
                      <a:close/>
                      <a:moveTo>
                        <a:pt x="754" y="232"/>
                      </a:moveTo>
                      <a:lnTo>
                        <a:pt x="758" y="234"/>
                      </a:lnTo>
                      <a:lnTo>
                        <a:pt x="759" y="239"/>
                      </a:lnTo>
                      <a:lnTo>
                        <a:pt x="753" y="239"/>
                      </a:lnTo>
                      <a:lnTo>
                        <a:pt x="754" y="232"/>
                      </a:lnTo>
                      <a:close/>
                      <a:moveTo>
                        <a:pt x="760" y="185"/>
                      </a:moveTo>
                      <a:lnTo>
                        <a:pt x="766" y="187"/>
                      </a:lnTo>
                      <a:lnTo>
                        <a:pt x="765" y="196"/>
                      </a:lnTo>
                      <a:lnTo>
                        <a:pt x="766" y="201"/>
                      </a:lnTo>
                      <a:lnTo>
                        <a:pt x="766" y="204"/>
                      </a:lnTo>
                      <a:lnTo>
                        <a:pt x="760" y="203"/>
                      </a:lnTo>
                      <a:lnTo>
                        <a:pt x="760" y="196"/>
                      </a:lnTo>
                      <a:lnTo>
                        <a:pt x="760" y="185"/>
                      </a:lnTo>
                      <a:close/>
                      <a:moveTo>
                        <a:pt x="726" y="200"/>
                      </a:moveTo>
                      <a:lnTo>
                        <a:pt x="732" y="201"/>
                      </a:lnTo>
                      <a:lnTo>
                        <a:pt x="736" y="208"/>
                      </a:lnTo>
                      <a:lnTo>
                        <a:pt x="742" y="210"/>
                      </a:lnTo>
                      <a:lnTo>
                        <a:pt x="742" y="217"/>
                      </a:lnTo>
                      <a:lnTo>
                        <a:pt x="745" y="223"/>
                      </a:lnTo>
                      <a:lnTo>
                        <a:pt x="744" y="226"/>
                      </a:lnTo>
                      <a:lnTo>
                        <a:pt x="739" y="229"/>
                      </a:lnTo>
                      <a:lnTo>
                        <a:pt x="734" y="232"/>
                      </a:lnTo>
                      <a:lnTo>
                        <a:pt x="729" y="229"/>
                      </a:lnTo>
                      <a:lnTo>
                        <a:pt x="723" y="227"/>
                      </a:lnTo>
                      <a:lnTo>
                        <a:pt x="720" y="222"/>
                      </a:lnTo>
                      <a:lnTo>
                        <a:pt x="723" y="217"/>
                      </a:lnTo>
                      <a:lnTo>
                        <a:pt x="723" y="209"/>
                      </a:lnTo>
                      <a:lnTo>
                        <a:pt x="724" y="203"/>
                      </a:lnTo>
                      <a:lnTo>
                        <a:pt x="726" y="200"/>
                      </a:lnTo>
                      <a:close/>
                    </a:path>
                  </a:pathLst>
                </a:custGeom>
                <a:solidFill>
                  <a:srgbClr val="D1D0E1"/>
                </a:solidFill>
                <a:ln w="6350" cap="flat" cmpd="sng">
                  <a:solidFill>
                    <a:srgbClr val="7673A6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8" name="Rectangle 201"/>
                <p:cNvSpPr>
                  <a:spLocks noChangeArrowheads="1"/>
                </p:cNvSpPr>
                <p:nvPr/>
              </p:nvSpPr>
              <p:spPr bwMode="auto">
                <a:xfrm>
                  <a:off x="3876675" y="4057650"/>
                  <a:ext cx="246063" cy="21590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7673A6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89989" tIns="46794" rIns="89989" bIns="46794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r>
                    <a:rPr lang="en-GB" altLang="en-US" sz="900">
                      <a:solidFill>
                        <a:prstClr val="black"/>
                      </a:solidFill>
                      <a:ea typeface="MS PGothic" pitchFamily="34" charset="-128"/>
                    </a:rPr>
                    <a:t>Dublin</a:t>
                  </a:r>
                </a:p>
              </p:txBody>
            </p:sp>
            <p:sp>
              <p:nvSpPr>
                <p:cNvPr id="81" name="Oval 204"/>
                <p:cNvSpPr>
                  <a:spLocks noChangeArrowheads="1"/>
                </p:cNvSpPr>
                <p:nvPr/>
              </p:nvSpPr>
              <p:spPr bwMode="auto">
                <a:xfrm>
                  <a:off x="7243763" y="5418138"/>
                  <a:ext cx="84137" cy="76200"/>
                </a:xfrm>
                <a:prstGeom prst="ellipse">
                  <a:avLst/>
                </a:prstGeom>
                <a:solidFill>
                  <a:srgbClr val="005B9C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endParaRPr lang="en-US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2" name="Oval 205"/>
                <p:cNvSpPr>
                  <a:spLocks noChangeArrowheads="1"/>
                </p:cNvSpPr>
                <p:nvPr/>
              </p:nvSpPr>
              <p:spPr bwMode="auto">
                <a:xfrm>
                  <a:off x="7129463" y="4870450"/>
                  <a:ext cx="84137" cy="77788"/>
                </a:xfrm>
                <a:prstGeom prst="ellipse">
                  <a:avLst/>
                </a:prstGeom>
                <a:solidFill>
                  <a:srgbClr val="005B9C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endParaRPr lang="en-US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3" name="Oval 206"/>
                <p:cNvSpPr>
                  <a:spLocks noChangeArrowheads="1"/>
                </p:cNvSpPr>
                <p:nvPr/>
              </p:nvSpPr>
              <p:spPr bwMode="auto">
                <a:xfrm>
                  <a:off x="6316663" y="4484688"/>
                  <a:ext cx="85725" cy="76200"/>
                </a:xfrm>
                <a:prstGeom prst="ellipse">
                  <a:avLst/>
                </a:prstGeom>
                <a:solidFill>
                  <a:srgbClr val="005B9C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endParaRPr lang="en-US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4" name="Oval 207"/>
                <p:cNvSpPr>
                  <a:spLocks noChangeArrowheads="1"/>
                </p:cNvSpPr>
                <p:nvPr/>
              </p:nvSpPr>
              <p:spPr bwMode="auto">
                <a:xfrm>
                  <a:off x="5700713" y="4385726"/>
                  <a:ext cx="88900" cy="74612"/>
                </a:xfrm>
                <a:prstGeom prst="ellipse">
                  <a:avLst/>
                </a:prstGeom>
                <a:solidFill>
                  <a:srgbClr val="005B9C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endParaRPr lang="en-US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5" name="Oval 208"/>
                <p:cNvSpPr>
                  <a:spLocks noChangeArrowheads="1"/>
                </p:cNvSpPr>
                <p:nvPr/>
              </p:nvSpPr>
              <p:spPr bwMode="auto">
                <a:xfrm>
                  <a:off x="6357938" y="4098925"/>
                  <a:ext cx="85725" cy="77788"/>
                </a:xfrm>
                <a:prstGeom prst="ellipse">
                  <a:avLst/>
                </a:prstGeom>
                <a:solidFill>
                  <a:srgbClr val="005B9C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endParaRPr lang="en-US" altLang="en-US">
                    <a:solidFill>
                      <a:srgbClr val="1F497D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86" name="Rectangle 209"/>
                <p:cNvSpPr>
                  <a:spLocks noChangeArrowheads="1"/>
                </p:cNvSpPr>
                <p:nvPr/>
              </p:nvSpPr>
              <p:spPr bwMode="auto">
                <a:xfrm>
                  <a:off x="6697105" y="5464919"/>
                  <a:ext cx="242888" cy="21748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7673A6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89989" tIns="46794" rIns="89989" bIns="46794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r>
                    <a:rPr lang="en-GB" altLang="en-US" sz="900" dirty="0">
                      <a:solidFill>
                        <a:prstClr val="black"/>
                      </a:solidFill>
                      <a:ea typeface="MS PGothic" pitchFamily="34" charset="-128"/>
                    </a:rPr>
                    <a:t>Maidstone</a:t>
                  </a:r>
                </a:p>
              </p:txBody>
            </p:sp>
            <p:sp>
              <p:nvSpPr>
                <p:cNvPr id="87" name="Rectangle 210"/>
                <p:cNvSpPr>
                  <a:spLocks noChangeArrowheads="1"/>
                </p:cNvSpPr>
                <p:nvPr/>
              </p:nvSpPr>
              <p:spPr bwMode="auto">
                <a:xfrm>
                  <a:off x="7056730" y="4678754"/>
                  <a:ext cx="242888" cy="2190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7673A6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89989" tIns="46794" rIns="89989" bIns="46794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r>
                    <a:rPr lang="en-GB" altLang="en-US" sz="900" dirty="0">
                      <a:solidFill>
                        <a:prstClr val="black"/>
                      </a:solidFill>
                      <a:ea typeface="MS PGothic" pitchFamily="34" charset="-128"/>
                    </a:rPr>
                    <a:t>Bury St. Edmunds</a:t>
                  </a:r>
                </a:p>
              </p:txBody>
            </p:sp>
            <p:sp>
              <p:nvSpPr>
                <p:cNvPr id="88" name="Rectangle 211"/>
                <p:cNvSpPr>
                  <a:spLocks noChangeArrowheads="1"/>
                </p:cNvSpPr>
                <p:nvPr/>
              </p:nvSpPr>
              <p:spPr bwMode="auto">
                <a:xfrm>
                  <a:off x="6083746" y="3863341"/>
                  <a:ext cx="242887" cy="21590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7673A6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89989" tIns="46794" rIns="89989" bIns="46794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r>
                    <a:rPr lang="en-GB" altLang="en-US" sz="900" dirty="0">
                      <a:solidFill>
                        <a:prstClr val="black"/>
                      </a:solidFill>
                      <a:ea typeface="MS PGothic" pitchFamily="34" charset="-128"/>
                    </a:rPr>
                    <a:t>Normanton</a:t>
                  </a:r>
                </a:p>
              </p:txBody>
            </p:sp>
            <p:sp>
              <p:nvSpPr>
                <p:cNvPr id="89" name="Rectangle 212"/>
                <p:cNvSpPr>
                  <a:spLocks noChangeArrowheads="1"/>
                </p:cNvSpPr>
                <p:nvPr/>
              </p:nvSpPr>
              <p:spPr bwMode="auto">
                <a:xfrm>
                  <a:off x="5695182" y="4300246"/>
                  <a:ext cx="247650" cy="21590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7673A6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89989" tIns="46794" rIns="89989" bIns="46794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r>
                    <a:rPr lang="en-GB" altLang="en-US" sz="900" dirty="0">
                      <a:solidFill>
                        <a:prstClr val="black"/>
                      </a:solidFill>
                      <a:ea typeface="MS PGothic" pitchFamily="34" charset="-128"/>
                    </a:rPr>
                    <a:t>Runcorn</a:t>
                  </a:r>
                </a:p>
              </p:txBody>
            </p:sp>
            <p:sp>
              <p:nvSpPr>
                <p:cNvPr id="90" name="Rectangle 213"/>
                <p:cNvSpPr>
                  <a:spLocks noChangeArrowheads="1"/>
                </p:cNvSpPr>
                <p:nvPr/>
              </p:nvSpPr>
              <p:spPr bwMode="auto">
                <a:xfrm>
                  <a:off x="6323660" y="4406899"/>
                  <a:ext cx="244475" cy="21748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7673A6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89989" tIns="46794" rIns="89989" bIns="46794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r>
                    <a:rPr lang="en-GB" altLang="en-US" sz="900" dirty="0">
                      <a:solidFill>
                        <a:prstClr val="black"/>
                      </a:solidFill>
                      <a:ea typeface="MS PGothic" pitchFamily="34" charset="-128"/>
                    </a:rPr>
                    <a:t>Alfreton</a:t>
                  </a:r>
                </a:p>
              </p:txBody>
            </p:sp>
            <p:sp>
              <p:nvSpPr>
                <p:cNvPr id="93" name="Oval 216"/>
                <p:cNvSpPr>
                  <a:spLocks noChangeArrowheads="1"/>
                </p:cNvSpPr>
                <p:nvPr/>
              </p:nvSpPr>
              <p:spPr bwMode="auto">
                <a:xfrm>
                  <a:off x="5257800" y="2598738"/>
                  <a:ext cx="85725" cy="76200"/>
                </a:xfrm>
                <a:prstGeom prst="ellipse">
                  <a:avLst/>
                </a:prstGeom>
                <a:solidFill>
                  <a:srgbClr val="7030A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endParaRPr lang="en-US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5" name="Rectangle 218"/>
                <p:cNvSpPr>
                  <a:spLocks noChangeArrowheads="1"/>
                </p:cNvSpPr>
                <p:nvPr/>
              </p:nvSpPr>
              <p:spPr bwMode="auto">
                <a:xfrm>
                  <a:off x="5211763" y="2674938"/>
                  <a:ext cx="758825" cy="21431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7673A6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89989" tIns="46794" rIns="89989" bIns="46794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r>
                    <a:rPr lang="en-GB" altLang="en-US" sz="900">
                      <a:solidFill>
                        <a:prstClr val="black"/>
                      </a:solidFill>
                      <a:ea typeface="MS PGothic" pitchFamily="34" charset="-128"/>
                    </a:rPr>
                    <a:t>Bellshill</a:t>
                  </a:r>
                </a:p>
              </p:txBody>
            </p:sp>
            <p:sp>
              <p:nvSpPr>
                <p:cNvPr id="97" name="Oval 220"/>
                <p:cNvSpPr>
                  <a:spLocks noChangeArrowheads="1"/>
                </p:cNvSpPr>
                <p:nvPr/>
              </p:nvSpPr>
              <p:spPr bwMode="auto">
                <a:xfrm>
                  <a:off x="2767862" y="5928140"/>
                  <a:ext cx="85725" cy="77789"/>
                </a:xfrm>
                <a:prstGeom prst="ellipse">
                  <a:avLst/>
                </a:prstGeom>
                <a:solidFill>
                  <a:srgbClr val="0066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endParaRPr lang="en-US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8" name="Text Box 221"/>
                <p:cNvSpPr txBox="1">
                  <a:spLocks noChangeArrowheads="1"/>
                </p:cNvSpPr>
                <p:nvPr/>
              </p:nvSpPr>
              <p:spPr bwMode="auto">
                <a:xfrm>
                  <a:off x="2826276" y="5826540"/>
                  <a:ext cx="1293803" cy="27944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89989" tIns="46794" rIns="89989" bIns="46794">
                  <a:spAutoFit/>
                </a:bodyPr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r>
                    <a:rPr lang="en-GB" altLang="en-US" sz="1000" b="1" dirty="0" smtClean="0">
                      <a:solidFill>
                        <a:prstClr val="black"/>
                      </a:solidFill>
                      <a:ea typeface="MS PGothic" pitchFamily="34" charset="-128"/>
                    </a:rPr>
                    <a:t>NHSSC Depots</a:t>
                  </a:r>
                  <a:endParaRPr lang="en-US" altLang="en-US" sz="1000" b="1" dirty="0">
                    <a:solidFill>
                      <a:prstClr val="black"/>
                    </a:solidFill>
                    <a:ea typeface="MS PGothic" pitchFamily="34" charset="-128"/>
                  </a:endParaRPr>
                </a:p>
              </p:txBody>
            </p:sp>
            <p:sp>
              <p:nvSpPr>
                <p:cNvPr id="99" name="Rectangle 222"/>
                <p:cNvSpPr>
                  <a:spLocks noChangeArrowheads="1"/>
                </p:cNvSpPr>
                <p:nvPr/>
              </p:nvSpPr>
              <p:spPr bwMode="auto">
                <a:xfrm>
                  <a:off x="6351588" y="4792663"/>
                  <a:ext cx="244475" cy="21590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7673A6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89989" tIns="46794" rIns="89989" bIns="46794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r>
                    <a:rPr lang="en-GB" altLang="en-US" sz="900">
                      <a:solidFill>
                        <a:prstClr val="black"/>
                      </a:solidFill>
                      <a:ea typeface="MS PGothic" pitchFamily="34" charset="-128"/>
                    </a:rPr>
                    <a:t>Rugby</a:t>
                  </a:r>
                </a:p>
              </p:txBody>
            </p:sp>
            <p:sp>
              <p:nvSpPr>
                <p:cNvPr id="100" name="Oval 223"/>
                <p:cNvSpPr>
                  <a:spLocks noChangeArrowheads="1"/>
                </p:cNvSpPr>
                <p:nvPr/>
              </p:nvSpPr>
              <p:spPr bwMode="auto">
                <a:xfrm>
                  <a:off x="6356350" y="4870450"/>
                  <a:ext cx="87313" cy="76200"/>
                </a:xfrm>
                <a:prstGeom prst="ellipse">
                  <a:avLst/>
                </a:prstGeom>
                <a:solidFill>
                  <a:srgbClr val="005B9C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●"/>
                    <a:defRPr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30000"/>
                    </a:spcBef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3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130000"/>
                    <a:buFont typeface="Arial" charset="0"/>
                    <a:buChar char="-"/>
                    <a:defRPr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endParaRPr lang="en-US" altLang="en-US">
                    <a:solidFill>
                      <a:prstClr val="black"/>
                    </a:solidFill>
                  </a:endParaRPr>
                </a:p>
              </p:txBody>
            </p:sp>
          </p:grpSp>
          <p:pic>
            <p:nvPicPr>
              <p:cNvPr id="1026" name="Picture 2"/>
              <p:cNvPicPr>
                <a:picLocks noChangeAspect="1" noChangeArrowheads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9600" y="3069956"/>
                <a:ext cx="2023602" cy="11601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" name="Picture 8" descr="Image result for Unloading Parcel van">
                <a:hlinkClick r:id="rId9"/>
              </p:cNvPr>
              <p:cNvPicPr>
                <a:picLocks noChangeAspect="1" noChangeArrowheads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9793" y="4670058"/>
                <a:ext cx="2009640" cy="106600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01" name="Oval 207"/>
            <p:cNvSpPr>
              <a:spLocks noChangeArrowheads="1"/>
            </p:cNvSpPr>
            <p:nvPr/>
          </p:nvSpPr>
          <p:spPr bwMode="auto">
            <a:xfrm>
              <a:off x="5939343" y="4612327"/>
              <a:ext cx="151325" cy="14210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</p:spPr>
          <p:txBody>
            <a:bodyPr wrap="none" lIns="90000" tIns="46800" rIns="90000" bIns="46800" anchor="ctr"/>
            <a:lstStyle>
              <a:lvl1pPr eaLnBrk="0" hangingPunct="0">
                <a:spcBef>
                  <a:spcPct val="30000"/>
                </a:spcBef>
                <a:buClr>
                  <a:schemeClr val="bg2"/>
                </a:buClr>
                <a:buSzPct val="130000"/>
                <a:buFont typeface="Arial" charset="0"/>
                <a:buChar char="●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30000"/>
                </a:spcBef>
                <a:buClr>
                  <a:schemeClr val="bg2"/>
                </a:buClr>
                <a:buSzPct val="130000"/>
                <a:buFont typeface="Arial" charset="0"/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30000"/>
                </a:spcBef>
                <a:buClr>
                  <a:schemeClr val="bg2"/>
                </a:buClr>
                <a:buSzPct val="130000"/>
                <a:buFont typeface="Arial" charset="0"/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30000"/>
                </a:spcBef>
                <a:buClr>
                  <a:schemeClr val="bg2"/>
                </a:buClr>
                <a:buSzPct val="130000"/>
                <a:buFont typeface="Arial" charset="0"/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30000"/>
                </a:spcBef>
                <a:buClr>
                  <a:schemeClr val="bg2"/>
                </a:buClr>
                <a:buSzPct val="130000"/>
                <a:buFont typeface="Arial" charset="0"/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bg2"/>
                </a:buClr>
                <a:buSzPct val="130000"/>
                <a:buFont typeface="Arial" charset="0"/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bg2"/>
                </a:buClr>
                <a:buSzPct val="130000"/>
                <a:buFont typeface="Arial" charset="0"/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bg2"/>
                </a:buClr>
                <a:buSzPct val="130000"/>
                <a:buFont typeface="Arial" charset="0"/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bg2"/>
                </a:buClr>
                <a:buSzPct val="130000"/>
                <a:buFont typeface="Arial" charset="0"/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  <p:sp>
          <p:nvSpPr>
            <p:cNvPr id="103" name="Oval 205"/>
            <p:cNvSpPr>
              <a:spLocks noChangeArrowheads="1"/>
            </p:cNvSpPr>
            <p:nvPr/>
          </p:nvSpPr>
          <p:spPr bwMode="auto">
            <a:xfrm>
              <a:off x="5975925" y="4642652"/>
              <a:ext cx="71551" cy="69145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eaLnBrk="0" hangingPunct="0">
                <a:spcBef>
                  <a:spcPct val="30000"/>
                </a:spcBef>
                <a:buClr>
                  <a:schemeClr val="bg2"/>
                </a:buClr>
                <a:buSzPct val="130000"/>
                <a:buFont typeface="Arial" charset="0"/>
                <a:buChar char="●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30000"/>
                </a:spcBef>
                <a:buClr>
                  <a:schemeClr val="bg2"/>
                </a:buClr>
                <a:buSzPct val="130000"/>
                <a:buFont typeface="Arial" charset="0"/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30000"/>
                </a:spcBef>
                <a:buClr>
                  <a:schemeClr val="bg2"/>
                </a:buClr>
                <a:buSzPct val="130000"/>
                <a:buFont typeface="Arial" charset="0"/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30000"/>
                </a:spcBef>
                <a:buClr>
                  <a:schemeClr val="bg2"/>
                </a:buClr>
                <a:buSzPct val="130000"/>
                <a:buFont typeface="Arial" charset="0"/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30000"/>
                </a:spcBef>
                <a:buClr>
                  <a:schemeClr val="bg2"/>
                </a:buClr>
                <a:buSzPct val="130000"/>
                <a:buFont typeface="Arial" charset="0"/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bg2"/>
                </a:buClr>
                <a:buSzPct val="130000"/>
                <a:buFont typeface="Arial" charset="0"/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bg2"/>
                </a:buClr>
                <a:buSzPct val="130000"/>
                <a:buFont typeface="Arial" charset="0"/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bg2"/>
                </a:buClr>
                <a:buSzPct val="130000"/>
                <a:buFont typeface="Arial" charset="0"/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bg2"/>
                </a:buClr>
                <a:buSzPct val="130000"/>
                <a:buFont typeface="Arial" charset="0"/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>
                <a:solidFill>
                  <a:prstClr val="black"/>
                </a:solidFill>
              </a:endParaRPr>
            </a:p>
          </p:txBody>
        </p:sp>
      </p:grpSp>
      <p:sp>
        <p:nvSpPr>
          <p:cNvPr id="104" name="Rectangle 189"/>
          <p:cNvSpPr>
            <a:spLocks noChangeArrowheads="1"/>
          </p:cNvSpPr>
          <p:nvPr/>
        </p:nvSpPr>
        <p:spPr bwMode="auto">
          <a:xfrm>
            <a:off x="5154606" y="4595824"/>
            <a:ext cx="206553" cy="194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7673A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89" tIns="46794" rIns="89989" bIns="46794" anchor="ctr"/>
          <a:lstStyle>
            <a:lvl1pPr eaLnBrk="0" hangingPunct="0">
              <a:spcBef>
                <a:spcPct val="30000"/>
              </a:spcBef>
              <a:buClr>
                <a:schemeClr val="bg2"/>
              </a:buClr>
              <a:buSzPct val="130000"/>
              <a:buFont typeface="Arial" charset="0"/>
              <a:buChar char="●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bg2"/>
              </a:buClr>
              <a:buSzPct val="130000"/>
              <a:buFont typeface="Arial" charset="0"/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bg2"/>
              </a:buClr>
              <a:buSzPct val="130000"/>
              <a:buFont typeface="Arial" charset="0"/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bg2"/>
              </a:buClr>
              <a:buSzPct val="130000"/>
              <a:buFont typeface="Arial" charset="0"/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bg2"/>
              </a:buClr>
              <a:buSzPct val="130000"/>
              <a:buFont typeface="Arial" charset="0"/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SzPct val="130000"/>
              <a:buFont typeface="Arial" charset="0"/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SzPct val="130000"/>
              <a:buFont typeface="Arial" charset="0"/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SzPct val="130000"/>
              <a:buFont typeface="Arial" charset="0"/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SzPct val="130000"/>
              <a:buFont typeface="Arial" charset="0"/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GB" altLang="en-US" sz="900" dirty="0" smtClean="0">
                <a:solidFill>
                  <a:prstClr val="black"/>
                </a:solidFill>
                <a:ea typeface="MS PGothic" pitchFamily="34" charset="-128"/>
              </a:rPr>
              <a:t>COALVILLE</a:t>
            </a:r>
            <a:endParaRPr lang="en-GB" altLang="en-US" sz="900" dirty="0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bound Logistics - Network</a:t>
            </a:r>
            <a:endParaRPr lang="en-GB" dirty="0"/>
          </a:p>
        </p:txBody>
      </p:sp>
      <p:sp>
        <p:nvSpPr>
          <p:cNvPr id="63" name="Rectangle 19"/>
          <p:cNvSpPr>
            <a:spLocks noChangeArrowheads="1"/>
          </p:cNvSpPr>
          <p:nvPr/>
        </p:nvSpPr>
        <p:spPr bwMode="auto">
          <a:xfrm>
            <a:off x="0" y="6477000"/>
            <a:ext cx="9144000" cy="381000"/>
          </a:xfrm>
          <a:prstGeom prst="rect">
            <a:avLst/>
          </a:prstGeom>
          <a:solidFill>
            <a:srgbClr val="0033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198000" anchor="ctr"/>
          <a:lstStyle/>
          <a:p>
            <a:pPr algn="l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</a:rPr>
              <a:t>	www.supplychain.nhs.uk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053097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GB" sz="28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GB" sz="28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GB" sz="28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GB" sz="28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GB" sz="28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endParaRPr lang="en-GB" sz="2800" dirty="0" smtClean="0"/>
          </a:p>
          <a:p>
            <a:endParaRPr lang="en-GB" sz="2800" dirty="0" smtClean="0"/>
          </a:p>
          <a:p>
            <a:endParaRPr lang="en-GB" sz="2800" dirty="0" smtClean="0"/>
          </a:p>
          <a:p>
            <a:pPr marL="0" indent="0">
              <a:buNone/>
            </a:pPr>
            <a:endParaRPr lang="en-GB" sz="2800" dirty="0"/>
          </a:p>
          <a:p>
            <a:endParaRPr lang="en-GB" sz="2800" dirty="0"/>
          </a:p>
        </p:txBody>
      </p:sp>
      <p:sp>
        <p:nvSpPr>
          <p:cNvPr id="5" name="Right Arrow 4"/>
          <p:cNvSpPr/>
          <p:nvPr/>
        </p:nvSpPr>
        <p:spPr>
          <a:xfrm>
            <a:off x="685355" y="2137524"/>
            <a:ext cx="1487830" cy="1140032"/>
          </a:xfrm>
          <a:prstGeom prst="rightArrow">
            <a:avLst/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3" name="Group 12"/>
          <p:cNvGrpSpPr/>
          <p:nvPr/>
        </p:nvGrpSpPr>
        <p:grpSpPr>
          <a:xfrm>
            <a:off x="1794843" y="2457564"/>
            <a:ext cx="2312149" cy="538275"/>
            <a:chOff x="4018" y="628303"/>
            <a:chExt cx="1943278" cy="837738"/>
          </a:xfrm>
        </p:grpSpPr>
        <p:sp>
          <p:nvSpPr>
            <p:cNvPr id="14" name="Rounded Rectangle 13"/>
            <p:cNvSpPr/>
            <p:nvPr/>
          </p:nvSpPr>
          <p:spPr>
            <a:xfrm>
              <a:off x="4018" y="628303"/>
              <a:ext cx="1943278" cy="837738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ounded Rectangle 4"/>
            <p:cNvSpPr/>
            <p:nvPr/>
          </p:nvSpPr>
          <p:spPr>
            <a:xfrm>
              <a:off x="44913" y="669198"/>
              <a:ext cx="1861488" cy="75594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b="1" dirty="0" smtClean="0">
                  <a:solidFill>
                    <a:prstClr val="white"/>
                  </a:solidFill>
                </a:rPr>
                <a:t>Operational cost savings</a:t>
              </a:r>
            </a:p>
          </p:txBody>
        </p:sp>
      </p:grpSp>
      <p:sp>
        <p:nvSpPr>
          <p:cNvPr id="28" name="Right Arrow 27"/>
          <p:cNvSpPr/>
          <p:nvPr/>
        </p:nvSpPr>
        <p:spPr>
          <a:xfrm>
            <a:off x="4887130" y="3453674"/>
            <a:ext cx="1487830" cy="1140032"/>
          </a:xfrm>
          <a:prstGeom prst="rightArrow">
            <a:avLst/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9" name="Group 28"/>
          <p:cNvGrpSpPr/>
          <p:nvPr/>
        </p:nvGrpSpPr>
        <p:grpSpPr>
          <a:xfrm>
            <a:off x="5996618" y="3773714"/>
            <a:ext cx="2312149" cy="538275"/>
            <a:chOff x="4018" y="628303"/>
            <a:chExt cx="1943278" cy="837738"/>
          </a:xfrm>
        </p:grpSpPr>
        <p:sp>
          <p:nvSpPr>
            <p:cNvPr id="30" name="Rounded Rectangle 29"/>
            <p:cNvSpPr/>
            <p:nvPr/>
          </p:nvSpPr>
          <p:spPr>
            <a:xfrm>
              <a:off x="4018" y="628303"/>
              <a:ext cx="1943278" cy="837738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Rounded Rectangle 4"/>
            <p:cNvSpPr/>
            <p:nvPr/>
          </p:nvSpPr>
          <p:spPr>
            <a:xfrm>
              <a:off x="44913" y="669198"/>
              <a:ext cx="1861488" cy="75594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b="1" dirty="0">
                  <a:solidFill>
                    <a:prstClr val="white"/>
                  </a:solidFill>
                </a:rPr>
                <a:t>1,380 tonnes CO2 saved per annum</a:t>
              </a:r>
            </a:p>
          </p:txBody>
        </p:sp>
      </p:grpSp>
      <p:sp>
        <p:nvSpPr>
          <p:cNvPr id="44" name="Right Arrow 43"/>
          <p:cNvSpPr/>
          <p:nvPr/>
        </p:nvSpPr>
        <p:spPr>
          <a:xfrm>
            <a:off x="4883180" y="4755974"/>
            <a:ext cx="1487830" cy="1140032"/>
          </a:xfrm>
          <a:prstGeom prst="rightArrow">
            <a:avLst/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45" name="Group 44"/>
          <p:cNvGrpSpPr/>
          <p:nvPr/>
        </p:nvGrpSpPr>
        <p:grpSpPr>
          <a:xfrm>
            <a:off x="5992668" y="5076014"/>
            <a:ext cx="2312149" cy="538275"/>
            <a:chOff x="4018" y="628303"/>
            <a:chExt cx="1943278" cy="837738"/>
          </a:xfrm>
        </p:grpSpPr>
        <p:sp>
          <p:nvSpPr>
            <p:cNvPr id="46" name="Rounded Rectangle 45"/>
            <p:cNvSpPr/>
            <p:nvPr/>
          </p:nvSpPr>
          <p:spPr>
            <a:xfrm>
              <a:off x="4018" y="628303"/>
              <a:ext cx="1943278" cy="837738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7" name="Rounded Rectangle 4"/>
            <p:cNvSpPr/>
            <p:nvPr/>
          </p:nvSpPr>
          <p:spPr>
            <a:xfrm>
              <a:off x="44913" y="669198"/>
              <a:ext cx="1861488" cy="75594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b="1" dirty="0" smtClean="0">
                  <a:solidFill>
                    <a:prstClr val="white"/>
                  </a:solidFill>
                </a:rPr>
                <a:t>87% Less Gate Receipts per week </a:t>
              </a:r>
            </a:p>
          </p:txBody>
        </p:sp>
      </p:grpSp>
      <p:pic>
        <p:nvPicPr>
          <p:cNvPr id="53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88" b="13371"/>
          <a:stretch>
            <a:fillRect/>
          </a:stretch>
        </p:blipFill>
        <p:spPr bwMode="auto">
          <a:xfrm>
            <a:off x="877165" y="3382424"/>
            <a:ext cx="3067050" cy="230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Right Arrow 53"/>
          <p:cNvSpPr/>
          <p:nvPr/>
        </p:nvSpPr>
        <p:spPr>
          <a:xfrm>
            <a:off x="683888" y="937505"/>
            <a:ext cx="1487830" cy="1140032"/>
          </a:xfrm>
          <a:prstGeom prst="rightArrow">
            <a:avLst/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55" name="Group 54"/>
          <p:cNvGrpSpPr/>
          <p:nvPr/>
        </p:nvGrpSpPr>
        <p:grpSpPr>
          <a:xfrm>
            <a:off x="1793376" y="1257545"/>
            <a:ext cx="2312149" cy="538275"/>
            <a:chOff x="4018" y="628303"/>
            <a:chExt cx="1943278" cy="837738"/>
          </a:xfrm>
        </p:grpSpPr>
        <p:sp>
          <p:nvSpPr>
            <p:cNvPr id="56" name="Rounded Rectangle 55"/>
            <p:cNvSpPr/>
            <p:nvPr/>
          </p:nvSpPr>
          <p:spPr>
            <a:xfrm>
              <a:off x="4018" y="628303"/>
              <a:ext cx="1943278" cy="837738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7" name="Rounded Rectangle 4"/>
            <p:cNvSpPr/>
            <p:nvPr/>
          </p:nvSpPr>
          <p:spPr>
            <a:xfrm>
              <a:off x="44913" y="669198"/>
              <a:ext cx="1861488" cy="75594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b="1" dirty="0" smtClean="0">
                  <a:solidFill>
                    <a:prstClr val="white"/>
                  </a:solidFill>
                </a:rPr>
                <a:t>152 Suppliers</a:t>
              </a:r>
            </a:p>
          </p:txBody>
        </p:sp>
      </p:grpSp>
      <p:sp>
        <p:nvSpPr>
          <p:cNvPr id="58" name="Right Arrow 57"/>
          <p:cNvSpPr/>
          <p:nvPr/>
        </p:nvSpPr>
        <p:spPr>
          <a:xfrm>
            <a:off x="4887130" y="937505"/>
            <a:ext cx="1487830" cy="1140032"/>
          </a:xfrm>
          <a:prstGeom prst="rightArrow">
            <a:avLst/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59" name="Group 58"/>
          <p:cNvGrpSpPr/>
          <p:nvPr/>
        </p:nvGrpSpPr>
        <p:grpSpPr>
          <a:xfrm>
            <a:off x="5996618" y="1257545"/>
            <a:ext cx="2312149" cy="538275"/>
            <a:chOff x="4018" y="628303"/>
            <a:chExt cx="1943278" cy="837738"/>
          </a:xfrm>
        </p:grpSpPr>
        <p:sp>
          <p:nvSpPr>
            <p:cNvPr id="60" name="Rounded Rectangle 59"/>
            <p:cNvSpPr/>
            <p:nvPr/>
          </p:nvSpPr>
          <p:spPr>
            <a:xfrm>
              <a:off x="4018" y="628303"/>
              <a:ext cx="1943278" cy="837738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1" name="Rounded Rectangle 4"/>
            <p:cNvSpPr/>
            <p:nvPr/>
          </p:nvSpPr>
          <p:spPr>
            <a:xfrm>
              <a:off x="44913" y="669198"/>
              <a:ext cx="1861488" cy="75594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b="1" dirty="0" smtClean="0">
                  <a:solidFill>
                    <a:prstClr val="white"/>
                  </a:solidFill>
                </a:rPr>
                <a:t>1000+ pallets daily</a:t>
              </a:r>
            </a:p>
          </p:txBody>
        </p:sp>
      </p:grpSp>
      <p:sp>
        <p:nvSpPr>
          <p:cNvPr id="62" name="Content Placeholder 2"/>
          <p:cNvSpPr txBox="1">
            <a:spLocks/>
          </p:cNvSpPr>
          <p:nvPr/>
        </p:nvSpPr>
        <p:spPr>
          <a:xfrm>
            <a:off x="457200" y="1234396"/>
            <a:ext cx="8229600" cy="45468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Frutiger" panose="020B0500000000000000" pitchFamily="34" charset="0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b="0" i="0" kern="1200">
                <a:solidFill>
                  <a:schemeClr val="tx1"/>
                </a:solidFill>
                <a:latin typeface="Frutiger" panose="020B0500000000000000" pitchFamily="34" charset="0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Frutiger" panose="020B0500000000000000" pitchFamily="34" charset="0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Frutiger" panose="020B0500000000000000" pitchFamily="34" charset="0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chemeClr val="tx1"/>
                </a:solidFill>
                <a:latin typeface="Frutiger" panose="020B0500000000000000" pitchFamily="34" charset="0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Font typeface="Arial"/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Font typeface="Arial"/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Font typeface="Arial"/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Font typeface="Arial"/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Font typeface="Arial"/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Font typeface="Arial"/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Font typeface="Arial"/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Font typeface="Arial"/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Font typeface="Arial"/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Font typeface="Arial"/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Font typeface="Arial"/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Font typeface="Arial"/>
              <a:buNone/>
            </a:pPr>
            <a:endParaRPr lang="en-GB" sz="2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endParaRPr lang="en-GB" sz="2800" dirty="0" smtClean="0"/>
          </a:p>
          <a:p>
            <a:endParaRPr lang="en-GB" sz="2800" dirty="0" smtClean="0"/>
          </a:p>
          <a:p>
            <a:endParaRPr lang="en-GB" sz="2800" dirty="0" smtClean="0"/>
          </a:p>
          <a:p>
            <a:pPr marL="0" indent="0">
              <a:buFont typeface="Arial"/>
              <a:buNone/>
            </a:pPr>
            <a:endParaRPr lang="en-GB" sz="2800" dirty="0" smtClean="0"/>
          </a:p>
          <a:p>
            <a:endParaRPr lang="en-GB" sz="2800" dirty="0"/>
          </a:p>
        </p:txBody>
      </p:sp>
      <p:sp>
        <p:nvSpPr>
          <p:cNvPr id="63" name="Right Arrow 62"/>
          <p:cNvSpPr/>
          <p:nvPr/>
        </p:nvSpPr>
        <p:spPr>
          <a:xfrm>
            <a:off x="4883180" y="2151925"/>
            <a:ext cx="1487830" cy="1140032"/>
          </a:xfrm>
          <a:prstGeom prst="rightArrow">
            <a:avLst/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64" name="Group 63"/>
          <p:cNvGrpSpPr/>
          <p:nvPr/>
        </p:nvGrpSpPr>
        <p:grpSpPr>
          <a:xfrm>
            <a:off x="5992668" y="2471965"/>
            <a:ext cx="2312149" cy="538275"/>
            <a:chOff x="4018" y="628303"/>
            <a:chExt cx="1943278" cy="837738"/>
          </a:xfrm>
        </p:grpSpPr>
        <p:sp>
          <p:nvSpPr>
            <p:cNvPr id="65" name="Rounded Rectangle 64"/>
            <p:cNvSpPr/>
            <p:nvPr/>
          </p:nvSpPr>
          <p:spPr>
            <a:xfrm>
              <a:off x="4018" y="628303"/>
              <a:ext cx="1943278" cy="837738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6" name="Rounded Rectangle 4"/>
            <p:cNvSpPr/>
            <p:nvPr/>
          </p:nvSpPr>
          <p:spPr>
            <a:xfrm>
              <a:off x="44913" y="669198"/>
              <a:ext cx="1861488" cy="75594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b="1" dirty="0" smtClean="0"/>
                <a:t>195 FTL Deliveries per week</a:t>
              </a:r>
              <a:endParaRPr lang="en-GB" sz="1800" b="1" kern="1200" dirty="0" smtClean="0"/>
            </a:p>
          </p:txBody>
        </p:sp>
      </p:grpSp>
      <p:sp>
        <p:nvSpPr>
          <p:cNvPr id="67" name="Title 5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41643"/>
          </a:xfrm>
        </p:spPr>
        <p:txBody>
          <a:bodyPr/>
          <a:lstStyle/>
          <a:p>
            <a:r>
              <a:rPr lang="en-GB" dirty="0" smtClean="0"/>
              <a:t>Inbound Logistics – Scale and Benefits</a:t>
            </a:r>
            <a:endParaRPr lang="en-GB" dirty="0"/>
          </a:p>
        </p:txBody>
      </p:sp>
      <p:sp>
        <p:nvSpPr>
          <p:cNvPr id="68" name="Rectangle 19"/>
          <p:cNvSpPr>
            <a:spLocks noChangeArrowheads="1"/>
          </p:cNvSpPr>
          <p:nvPr/>
        </p:nvSpPr>
        <p:spPr bwMode="auto">
          <a:xfrm>
            <a:off x="0" y="6477000"/>
            <a:ext cx="9144000" cy="381000"/>
          </a:xfrm>
          <a:prstGeom prst="rect">
            <a:avLst/>
          </a:prstGeom>
          <a:solidFill>
            <a:srgbClr val="0033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198000" anchor="ctr"/>
          <a:lstStyle/>
          <a:p>
            <a:pPr algn="l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</a:rPr>
              <a:t>	www.supplychain.nhs.uk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4620162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1569" y="1319951"/>
            <a:ext cx="84140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	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4830" y="260648"/>
            <a:ext cx="6834022" cy="666750"/>
          </a:xfrm>
        </p:spPr>
        <p:txBody>
          <a:bodyPr>
            <a:normAutofit/>
          </a:bodyPr>
          <a:lstStyle/>
          <a:p>
            <a:r>
              <a:rPr lang="en-GB" sz="2400" dirty="0" smtClean="0"/>
              <a:t>Way Forward</a:t>
            </a:r>
            <a:endParaRPr lang="en-GB" sz="24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424830" y="927398"/>
            <a:ext cx="82089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rgbClr val="00B050"/>
                </a:solidFill>
                <a:latin typeface="Frutiger" panose="020B0500000000000000" pitchFamily="34" charset="0"/>
              </a:rPr>
              <a:t>Consolidation</a:t>
            </a:r>
            <a:endParaRPr lang="en-GB" dirty="0">
              <a:solidFill>
                <a:srgbClr val="00B050"/>
              </a:solidFill>
              <a:latin typeface="Frutiger" panose="020B0500000000000000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31569" y="5369437"/>
            <a:ext cx="84140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>
                <a:latin typeface="Frutiger" panose="020B0500000000000000" pitchFamily="34" charset="0"/>
              </a:rPr>
              <a:t>		</a:t>
            </a:r>
          </a:p>
        </p:txBody>
      </p:sp>
      <p:sp>
        <p:nvSpPr>
          <p:cNvPr id="10" name="Rectangle 9"/>
          <p:cNvSpPr/>
          <p:nvPr/>
        </p:nvSpPr>
        <p:spPr>
          <a:xfrm>
            <a:off x="322262" y="1366118"/>
            <a:ext cx="442786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600" dirty="0" smtClean="0">
                <a:latin typeface="Frutiger" panose="020B0500000000000000" pitchFamily="34" charset="0"/>
              </a:rPr>
              <a:t>Reduce final mile activity and associated emissions</a:t>
            </a:r>
          </a:p>
          <a:p>
            <a:endParaRPr lang="en-GB" sz="1600" dirty="0" smtClean="0">
              <a:latin typeface="Frutiger" panose="020B0500000000000000" pitchFamily="34" charset="0"/>
            </a:endParaRPr>
          </a:p>
          <a:p>
            <a:r>
              <a:rPr lang="en-GB" sz="1600" dirty="0">
                <a:latin typeface="Frutiger" panose="020B0500000000000000" pitchFamily="34" charset="0"/>
              </a:rPr>
              <a:t>	</a:t>
            </a:r>
            <a:r>
              <a:rPr lang="en-GB" sz="1600" dirty="0" smtClean="0">
                <a:latin typeface="Frutiger" panose="020B0500000000000000" pitchFamily="34" charset="0"/>
              </a:rPr>
              <a:t>Focus on urban population centres</a:t>
            </a:r>
          </a:p>
          <a:p>
            <a:r>
              <a:rPr lang="en-GB" sz="1600" dirty="0">
                <a:latin typeface="Frutiger" panose="020B0500000000000000" pitchFamily="34" charset="0"/>
              </a:rPr>
              <a:t>	</a:t>
            </a:r>
            <a:r>
              <a:rPr lang="en-GB" sz="1600" dirty="0" smtClean="0">
                <a:latin typeface="Frutiger" panose="020B0500000000000000" pitchFamily="34" charset="0"/>
              </a:rPr>
              <a:t>	North West </a:t>
            </a:r>
          </a:p>
          <a:p>
            <a:r>
              <a:rPr lang="en-GB" sz="1600" dirty="0">
                <a:latin typeface="Frutiger" panose="020B0500000000000000" pitchFamily="34" charset="0"/>
              </a:rPr>
              <a:t>	</a:t>
            </a:r>
            <a:r>
              <a:rPr lang="en-GB" sz="1600" dirty="0" smtClean="0">
                <a:latin typeface="Frutiger" panose="020B0500000000000000" pitchFamily="34" charset="0"/>
              </a:rPr>
              <a:t>	Yorkshire</a:t>
            </a:r>
          </a:p>
          <a:p>
            <a:r>
              <a:rPr lang="en-GB" sz="1600" dirty="0">
                <a:latin typeface="Frutiger" panose="020B0500000000000000" pitchFamily="34" charset="0"/>
              </a:rPr>
              <a:t>	</a:t>
            </a:r>
            <a:r>
              <a:rPr lang="en-GB" sz="1600" dirty="0" smtClean="0">
                <a:latin typeface="Frutiger" panose="020B0500000000000000" pitchFamily="34" charset="0"/>
              </a:rPr>
              <a:t>	North East</a:t>
            </a:r>
            <a:r>
              <a:rPr lang="en-GB" sz="1400" dirty="0">
                <a:latin typeface="Frutiger" panose="020B0500000000000000" pitchFamily="34" charset="0"/>
              </a:rPr>
              <a:t>	</a:t>
            </a:r>
          </a:p>
        </p:txBody>
      </p:sp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0" y="6477000"/>
            <a:ext cx="9144000" cy="381000"/>
          </a:xfrm>
          <a:prstGeom prst="rect">
            <a:avLst/>
          </a:prstGeom>
          <a:solidFill>
            <a:srgbClr val="0033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198000" anchor="ctr"/>
          <a:lstStyle/>
          <a:p>
            <a:pPr algn="l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</a:rPr>
              <a:t>	www.supplychain.nhs.uk</a:t>
            </a:r>
            <a:endParaRPr lang="en-US" sz="1000" dirty="0"/>
          </a:p>
        </p:txBody>
      </p:sp>
      <p:pic>
        <p:nvPicPr>
          <p:cNvPr id="12" name="Picture 2" descr="S:\TRANSPORT\Photo shoot July 2016\CGE16148a-111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113" y="3760185"/>
            <a:ext cx="2971612" cy="1981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5039544" y="2661196"/>
            <a:ext cx="820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00B050"/>
                </a:solidFill>
                <a:latin typeface="Frutiger" panose="020B0500000000000000" pitchFamily="34" charset="0"/>
              </a:rPr>
              <a:t>Collaboration</a:t>
            </a:r>
            <a:endParaRPr lang="en-GB" sz="1600" dirty="0">
              <a:solidFill>
                <a:srgbClr val="00B050"/>
              </a:solidFill>
              <a:latin typeface="Frutiger" panose="020B0500000000000000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936976" y="3182000"/>
            <a:ext cx="8414048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600" dirty="0">
                <a:latin typeface="Frutiger" panose="020B0500000000000000" pitchFamily="34" charset="0"/>
              </a:rPr>
              <a:t>STPs</a:t>
            </a:r>
          </a:p>
          <a:p>
            <a:r>
              <a:rPr lang="en-GB" sz="1600" dirty="0" smtClean="0">
                <a:latin typeface="Frutiger" panose="020B0500000000000000" pitchFamily="34" charset="0"/>
              </a:rPr>
              <a:t>	Devolved authorities</a:t>
            </a:r>
          </a:p>
          <a:p>
            <a:r>
              <a:rPr lang="en-GB" sz="1600" dirty="0">
                <a:latin typeface="Frutiger" panose="020B0500000000000000" pitchFamily="34" charset="0"/>
              </a:rPr>
              <a:t>	</a:t>
            </a:r>
            <a:r>
              <a:rPr lang="en-GB" sz="1600" dirty="0" smtClean="0">
                <a:latin typeface="Frutiger" panose="020B0500000000000000" pitchFamily="34" charset="0"/>
              </a:rPr>
              <a:t>Other public sector organisations</a:t>
            </a:r>
          </a:p>
          <a:p>
            <a:r>
              <a:rPr lang="en-GB" sz="1600" dirty="0">
                <a:latin typeface="Frutiger" panose="020B0500000000000000" pitchFamily="34" charset="0"/>
              </a:rPr>
              <a:t>	</a:t>
            </a:r>
            <a:r>
              <a:rPr lang="en-GB" sz="1600" dirty="0" smtClean="0">
                <a:latin typeface="Frutiger" panose="020B0500000000000000" pitchFamily="34" charset="0"/>
              </a:rPr>
              <a:t>Private Sector</a:t>
            </a:r>
          </a:p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endParaRPr lang="en-GB" sz="1400" dirty="0" smtClean="0">
              <a:latin typeface="Frutiger" panose="020B0500000000000000" pitchFamily="34" charset="0"/>
            </a:endParaRPr>
          </a:p>
          <a:p>
            <a:r>
              <a:rPr lang="en-GB" sz="1400" dirty="0">
                <a:latin typeface="Frutiger" panose="020B0500000000000000" pitchFamily="34" charset="0"/>
              </a:rPr>
              <a:t>		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3494" y="4648489"/>
            <a:ext cx="2214624" cy="144189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3494" y="950446"/>
            <a:ext cx="1607098" cy="1431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4756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1569" y="1319951"/>
            <a:ext cx="84140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	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4830" y="260648"/>
            <a:ext cx="6834022" cy="666750"/>
          </a:xfrm>
        </p:spPr>
        <p:txBody>
          <a:bodyPr>
            <a:normAutofit/>
          </a:bodyPr>
          <a:lstStyle/>
          <a:p>
            <a:r>
              <a:rPr lang="en-GB" sz="2400" dirty="0" smtClean="0"/>
              <a:t>Way Forward</a:t>
            </a:r>
            <a:endParaRPr lang="en-GB" sz="24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424830" y="927398"/>
            <a:ext cx="820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00B050"/>
                </a:solidFill>
                <a:latin typeface="Frutiger" panose="020B0500000000000000" pitchFamily="34" charset="0"/>
              </a:rPr>
              <a:t>Understand the true supply chain</a:t>
            </a:r>
            <a:endParaRPr lang="en-GB" sz="1600" dirty="0">
              <a:solidFill>
                <a:srgbClr val="00B050"/>
              </a:solidFill>
              <a:latin typeface="Frutiger" panose="020B0500000000000000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31569" y="5369437"/>
            <a:ext cx="84140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>
                <a:latin typeface="Frutiger" panose="020B0500000000000000" pitchFamily="34" charset="0"/>
              </a:rPr>
              <a:t>		</a:t>
            </a:r>
          </a:p>
        </p:txBody>
      </p:sp>
      <p:sp>
        <p:nvSpPr>
          <p:cNvPr id="10" name="Rectangle 9"/>
          <p:cNvSpPr/>
          <p:nvPr/>
        </p:nvSpPr>
        <p:spPr>
          <a:xfrm>
            <a:off x="322262" y="1366118"/>
            <a:ext cx="841404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600" dirty="0" smtClean="0">
                <a:latin typeface="Frutiger" panose="020B0500000000000000" pitchFamily="34" charset="0"/>
              </a:rPr>
              <a:t>Measure </a:t>
            </a:r>
          </a:p>
          <a:p>
            <a:r>
              <a:rPr lang="en-GB" sz="1600" dirty="0">
                <a:latin typeface="Frutiger" panose="020B0500000000000000" pitchFamily="34" charset="0"/>
              </a:rPr>
              <a:t>	</a:t>
            </a:r>
            <a:r>
              <a:rPr lang="en-GB" sz="1600" dirty="0" smtClean="0">
                <a:latin typeface="Frutiger" panose="020B0500000000000000" pitchFamily="34" charset="0"/>
              </a:rPr>
              <a:t>Map</a:t>
            </a:r>
          </a:p>
          <a:p>
            <a:r>
              <a:rPr lang="en-GB" sz="1600" dirty="0">
                <a:latin typeface="Frutiger" panose="020B0500000000000000" pitchFamily="34" charset="0"/>
              </a:rPr>
              <a:t>	</a:t>
            </a:r>
            <a:r>
              <a:rPr lang="en-GB" sz="1600" dirty="0" smtClean="0">
                <a:latin typeface="Frutiger" panose="020B0500000000000000" pitchFamily="34" charset="0"/>
              </a:rPr>
              <a:t>Quantify</a:t>
            </a:r>
          </a:p>
          <a:p>
            <a:r>
              <a:rPr lang="en-GB" sz="1600" dirty="0">
                <a:latin typeface="Frutiger" panose="020B0500000000000000" pitchFamily="34" charset="0"/>
              </a:rPr>
              <a:t>	</a:t>
            </a:r>
            <a:endParaRPr lang="en-GB" sz="1600" dirty="0" smtClean="0">
              <a:latin typeface="Frutiger" panose="020B0500000000000000" pitchFamily="34" charset="0"/>
            </a:endParaRPr>
          </a:p>
        </p:txBody>
      </p:sp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0" y="6477000"/>
            <a:ext cx="9144000" cy="381000"/>
          </a:xfrm>
          <a:prstGeom prst="rect">
            <a:avLst/>
          </a:prstGeom>
          <a:solidFill>
            <a:srgbClr val="0033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198000" anchor="ctr"/>
          <a:lstStyle/>
          <a:p>
            <a:pPr algn="l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</a:rPr>
              <a:t>	www.supplychain.nhs.uk</a:t>
            </a:r>
            <a:endParaRPr lang="en-US" sz="1000" dirty="0"/>
          </a:p>
        </p:txBody>
      </p:sp>
      <p:pic>
        <p:nvPicPr>
          <p:cNvPr id="12" name="Picture 2" descr="S:\TRANSPORT\Photo shoot July 2016\CGE16148a-111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1028" y="4173190"/>
            <a:ext cx="2481943" cy="1654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436705" y="2720603"/>
            <a:ext cx="820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00B050"/>
                </a:solidFill>
                <a:latin typeface="Frutiger" panose="020B0500000000000000" pitchFamily="34" charset="0"/>
              </a:rPr>
              <a:t>Think Differently</a:t>
            </a:r>
            <a:endParaRPr lang="en-GB" sz="1600" dirty="0">
              <a:solidFill>
                <a:srgbClr val="00B050"/>
              </a:solidFill>
              <a:latin typeface="Frutiger" panose="020B0500000000000000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2262" y="3089935"/>
            <a:ext cx="8414048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600" dirty="0" smtClean="0">
                <a:latin typeface="Frutiger" panose="020B0500000000000000" pitchFamily="34" charset="0"/>
              </a:rPr>
              <a:t>Break down the Silos</a:t>
            </a:r>
          </a:p>
          <a:p>
            <a:r>
              <a:rPr lang="en-GB" sz="1600" dirty="0">
                <a:latin typeface="Frutiger" panose="020B0500000000000000" pitchFamily="34" charset="0"/>
              </a:rPr>
              <a:t>	</a:t>
            </a:r>
            <a:r>
              <a:rPr lang="en-GB" sz="1600" dirty="0" smtClean="0">
                <a:latin typeface="Frutiger" panose="020B0500000000000000" pitchFamily="34" charset="0"/>
              </a:rPr>
              <a:t>Innovate – how can we serve the rural / coastal populations more effectively</a:t>
            </a:r>
          </a:p>
          <a:p>
            <a:r>
              <a:rPr lang="en-GB" sz="1600" dirty="0">
                <a:latin typeface="Frutiger" panose="020B0500000000000000" pitchFamily="34" charset="0"/>
              </a:rPr>
              <a:t>	</a:t>
            </a:r>
            <a:r>
              <a:rPr lang="en-GB" sz="1600" dirty="0" smtClean="0">
                <a:latin typeface="Frutiger" panose="020B0500000000000000" pitchFamily="34" charset="0"/>
              </a:rPr>
              <a:t>Work with those who can add value </a:t>
            </a:r>
          </a:p>
          <a:p>
            <a:endParaRPr lang="en-GB" sz="1400" dirty="0" smtClean="0">
              <a:latin typeface="Frutiger" panose="020B0500000000000000" pitchFamily="34" charset="0"/>
            </a:endParaRPr>
          </a:p>
          <a:p>
            <a:r>
              <a:rPr lang="en-GB" sz="1400" dirty="0">
                <a:latin typeface="Frutiger" panose="020B0500000000000000" pitchFamily="34" charset="0"/>
              </a:rPr>
              <a:t>		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2540" y="4752389"/>
            <a:ext cx="2576945" cy="944643"/>
          </a:xfrm>
          <a:prstGeom prst="rect">
            <a:avLst/>
          </a:prstGeom>
        </p:spPr>
      </p:pic>
      <p:pic>
        <p:nvPicPr>
          <p:cNvPr id="18" name="Picture 17" descr="A4 size NHS Supply Chain logo with exclusion zone RGB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108" y="4603819"/>
            <a:ext cx="2376647" cy="12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22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nbrooksb\AppData\Local\Microsoft\Windows\Temporary Internet Files\Content.IE5\FZ9QYX1P\shutterstock_223020880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4480" y="1700808"/>
            <a:ext cx="3063686" cy="259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268760"/>
            <a:ext cx="7149480" cy="5472608"/>
          </a:xfrm>
        </p:spPr>
        <p:txBody>
          <a:bodyPr>
            <a:noAutofit/>
          </a:bodyPr>
          <a:lstStyle/>
          <a:p>
            <a:pPr fontAlgn="t"/>
            <a:r>
              <a:rPr lang="en-GB" sz="1800" b="1" dirty="0" smtClean="0">
                <a:latin typeface="Frutiger" panose="020B0500000000000000" pitchFamily="34" charset="0"/>
              </a:rPr>
              <a:t>Introduction  - </a:t>
            </a:r>
          </a:p>
          <a:p>
            <a:pPr lvl="1" fontAlgn="t"/>
            <a:r>
              <a:rPr lang="en-GB" sz="1400" b="1" dirty="0" smtClean="0">
                <a:latin typeface="Frutiger" panose="020B0500000000000000" pitchFamily="34" charset="0"/>
              </a:rPr>
              <a:t>NHS Supply Chain</a:t>
            </a:r>
          </a:p>
          <a:p>
            <a:pPr lvl="1" fontAlgn="t"/>
            <a:r>
              <a:rPr lang="en-GB" sz="1400" b="1" dirty="0" smtClean="0"/>
              <a:t>DPDHL</a:t>
            </a:r>
            <a:endParaRPr lang="en-GB" sz="1400" b="1" dirty="0" smtClean="0">
              <a:latin typeface="Frutiger" panose="020B0500000000000000" pitchFamily="34" charset="0"/>
            </a:endParaRPr>
          </a:p>
          <a:p>
            <a:pPr marL="0" indent="0" fontAlgn="t">
              <a:buNone/>
            </a:pPr>
            <a:r>
              <a:rPr lang="en-GB" sz="1800" dirty="0" smtClean="0">
                <a:latin typeface="Frutiger" panose="020B0500000000000000" pitchFamily="34" charset="0"/>
              </a:rPr>
              <a:t>	</a:t>
            </a:r>
          </a:p>
          <a:p>
            <a:pPr fontAlgn="t"/>
            <a:r>
              <a:rPr lang="en-GB" sz="1800" b="1" dirty="0" smtClean="0"/>
              <a:t>UK landscape</a:t>
            </a:r>
          </a:p>
          <a:p>
            <a:pPr fontAlgn="t"/>
            <a:endParaRPr lang="en-GB" sz="1800" b="1" dirty="0" smtClean="0">
              <a:latin typeface="Frutiger" panose="020B0500000000000000" pitchFamily="34" charset="0"/>
            </a:endParaRPr>
          </a:p>
          <a:p>
            <a:pPr fontAlgn="t"/>
            <a:r>
              <a:rPr lang="en-GB" sz="1800" b="1" dirty="0" smtClean="0">
                <a:latin typeface="Frutiger" panose="020B0500000000000000" pitchFamily="34" charset="0"/>
              </a:rPr>
              <a:t>Case Studies – making a difference </a:t>
            </a:r>
            <a:r>
              <a:rPr lang="en-GB" sz="1800" b="1" dirty="0" smtClean="0"/>
              <a:t>for the NHS</a:t>
            </a:r>
            <a:endParaRPr lang="en-GB" sz="1800" b="1" dirty="0" smtClean="0">
              <a:latin typeface="Frutiger" panose="020B0500000000000000" pitchFamily="34" charset="0"/>
            </a:endParaRPr>
          </a:p>
          <a:p>
            <a:pPr lvl="1" fontAlgn="t"/>
            <a:r>
              <a:rPr lang="en-GB" sz="1400" b="1" dirty="0" smtClean="0"/>
              <a:t>Urban Consolidation</a:t>
            </a:r>
          </a:p>
          <a:p>
            <a:pPr lvl="1" fontAlgn="t"/>
            <a:r>
              <a:rPr lang="en-GB" sz="1400" b="1" dirty="0" smtClean="0">
                <a:latin typeface="Frutiger" panose="020B0500000000000000" pitchFamily="34" charset="0"/>
              </a:rPr>
              <a:t>Inbound Logistics</a:t>
            </a:r>
          </a:p>
          <a:p>
            <a:pPr lvl="1" fontAlgn="t"/>
            <a:endParaRPr lang="en-GB" sz="1400" b="1" dirty="0" smtClean="0">
              <a:latin typeface="Frutiger" panose="020B0500000000000000" pitchFamily="34" charset="0"/>
            </a:endParaRPr>
          </a:p>
          <a:p>
            <a:pPr fontAlgn="t"/>
            <a:r>
              <a:rPr lang="en-GB" sz="1800" b="1" dirty="0" smtClean="0"/>
              <a:t>Way forward</a:t>
            </a:r>
            <a:endParaRPr lang="en-GB" sz="1800" b="1" dirty="0" smtClean="0">
              <a:latin typeface="Frutiger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5121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 defTabSz="455165">
              <a:spcBef>
                <a:spcPts val="0"/>
              </a:spcBef>
            </a:pPr>
            <a:r>
              <a:rPr lang="en-GB" alt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NHS Supply Chain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659531" y="648397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93675" y="169863"/>
            <a:ext cx="6834188" cy="666750"/>
          </a:xfrm>
          <a:prstGeom prst="rect">
            <a:avLst/>
          </a:prstGeom>
        </p:spPr>
        <p:txBody>
          <a:bodyPr vert="horz" lIns="91209" tIns="45615" rIns="91209" bIns="45615" rtlCol="0" anchor="ctr">
            <a:normAutofit/>
          </a:bodyPr>
          <a:lstStyle>
            <a:lvl1pPr algn="l" defTabSz="456045" rtl="0" eaLnBrk="1" latinLnBrk="0" hangingPunct="1">
              <a:spcBef>
                <a:spcPct val="0"/>
              </a:spcBef>
              <a:buNone/>
              <a:defRPr sz="2800" b="0" i="0" kern="1200">
                <a:solidFill>
                  <a:srgbClr val="005B9C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en-GB" altLang="en-US" sz="2000" dirty="0" smtClean="0">
              <a:solidFill>
                <a:srgbClr val="0070C0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Inhaltsplatzhalter 2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174624" y="1167514"/>
            <a:ext cx="8793163" cy="2413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lIns="108000" tIns="36000" rIns="36000" bIns="36000"/>
          <a:lstStyle>
            <a:lvl1pPr marL="342900" indent="-342900" defTabSz="4572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defTabSz="4572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358775" indent="-179388" defTabSz="457200" eaLnBrk="0" hangingPunct="0">
              <a:spcBef>
                <a:spcPct val="200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539750" indent="-179388" defTabSz="457200" eaLnBrk="0" hangingPunct="0">
              <a:spcBef>
                <a:spcPct val="20000"/>
              </a:spcBef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19138" indent="-179388" defTabSz="457200" eaLnBrk="0" hangingPunct="0">
              <a:spcBef>
                <a:spcPct val="20000"/>
              </a:spcBef>
              <a:buFont typeface="Arial" charset="0"/>
              <a:buChar char="»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176338" indent="-179388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33538" indent="-179388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090738" indent="-179388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47938" indent="-179388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lvl="1" algn="ctr" eaLnBrk="1" fontAlgn="base" hangingPunct="1">
              <a:spcBef>
                <a:spcPct val="0"/>
              </a:spcBef>
              <a:spcAft>
                <a:spcPts val="100"/>
              </a:spcAft>
              <a:buFontTx/>
              <a:buNone/>
              <a:defRPr/>
            </a:pPr>
            <a:r>
              <a:rPr lang="en-GB" altLang="en-US" sz="1200" b="1" dirty="0" smtClean="0">
                <a:solidFill>
                  <a:srgbClr val="000000"/>
                </a:solidFill>
              </a:rPr>
              <a:t>NHS Supply Chain is the only provider with OJEU compliant frameworks across its full range</a:t>
            </a:r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75" y="1626781"/>
            <a:ext cx="8729704" cy="3955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38643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65453" y="877043"/>
            <a:ext cx="3410900" cy="666750"/>
          </a:xfrm>
        </p:spPr>
        <p:txBody>
          <a:bodyPr>
            <a:normAutofit/>
          </a:bodyPr>
          <a:lstStyle/>
          <a:p>
            <a:r>
              <a:rPr lang="en-GB" sz="2000" dirty="0" smtClean="0"/>
              <a:t>UK Population Density</a:t>
            </a:r>
            <a:endParaRPr lang="en-GB" sz="2000" b="1" dirty="0"/>
          </a:p>
        </p:txBody>
      </p:sp>
      <p:pic>
        <p:nvPicPr>
          <p:cNvPr id="10" name="Picture 2" descr="C:\Users\ajolly\Desktop\UK Pop Density Map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0" y="1828800"/>
            <a:ext cx="3516033" cy="4159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Users\ajolly\Desktop\over 65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3829" y="1579418"/>
            <a:ext cx="3761737" cy="4450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4211079" y="912668"/>
            <a:ext cx="4315404" cy="6667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1" i="0" kern="1200">
                <a:solidFill>
                  <a:srgbClr val="005B9C"/>
                </a:solidFill>
                <a:latin typeface="Frutiger" panose="020B0500000000000000" pitchFamily="34" charset="0"/>
                <a:ea typeface="+mj-ea"/>
                <a:cs typeface="Arial"/>
              </a:defRPr>
            </a:lvl1pPr>
          </a:lstStyle>
          <a:p>
            <a:r>
              <a:rPr lang="en-GB" sz="2000" dirty="0" smtClean="0"/>
              <a:t>Areas with the highest number of residents aged over 65</a:t>
            </a:r>
            <a:endParaRPr lang="en-GB" sz="2000" dirty="0"/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414000" y="210293"/>
            <a:ext cx="3410900" cy="666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1" i="0" kern="1200">
                <a:solidFill>
                  <a:srgbClr val="005B9C"/>
                </a:solidFill>
                <a:latin typeface="Frutiger" panose="020B0500000000000000" pitchFamily="34" charset="0"/>
                <a:ea typeface="+mj-ea"/>
                <a:cs typeface="Arial"/>
              </a:defRPr>
            </a:lvl1pPr>
          </a:lstStyle>
          <a:p>
            <a:r>
              <a:rPr lang="en-GB" sz="2400" dirty="0" smtClean="0"/>
              <a:t>Demographics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697153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 txBox="1">
            <a:spLocks/>
          </p:cNvSpPr>
          <p:nvPr/>
        </p:nvSpPr>
        <p:spPr>
          <a:xfrm>
            <a:off x="4211079" y="912668"/>
            <a:ext cx="4315404" cy="6667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1" i="0" kern="1200">
                <a:solidFill>
                  <a:srgbClr val="005B9C"/>
                </a:solidFill>
                <a:latin typeface="Frutiger" panose="020B0500000000000000" pitchFamily="34" charset="0"/>
                <a:ea typeface="+mj-ea"/>
                <a:cs typeface="Arial"/>
              </a:defRPr>
            </a:lvl1pPr>
          </a:lstStyle>
          <a:p>
            <a:endParaRPr lang="en-GB" sz="2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73" y="286599"/>
            <a:ext cx="6799463" cy="666750"/>
          </a:xfrm>
        </p:spPr>
        <p:txBody>
          <a:bodyPr/>
          <a:lstStyle/>
          <a:p>
            <a:r>
              <a:rPr lang="en-GB" dirty="0" smtClean="0"/>
              <a:t>Devolved Authorities</a:t>
            </a:r>
            <a:endParaRPr lang="en-GB" dirty="0"/>
          </a:p>
        </p:txBody>
      </p:sp>
      <p:grpSp>
        <p:nvGrpSpPr>
          <p:cNvPr id="14" name="Group 13"/>
          <p:cNvGrpSpPr/>
          <p:nvPr/>
        </p:nvGrpSpPr>
        <p:grpSpPr>
          <a:xfrm>
            <a:off x="371475" y="1184956"/>
            <a:ext cx="3181350" cy="4080227"/>
            <a:chOff x="371475" y="1184956"/>
            <a:chExt cx="3181350" cy="4080227"/>
          </a:xfrm>
        </p:grpSpPr>
        <p:pic>
          <p:nvPicPr>
            <p:cNvPr id="15" name="Picture 2"/>
            <p:cNvPicPr>
              <a:picLocks noChangeAspect="1" noChangeArrowheads="1"/>
            </p:cNvPicPr>
            <p:nvPr/>
          </p:nvPicPr>
          <p:blipFill>
            <a:blip r:embed="rId2"/>
            <a:srcRect l="19933" t="21167" r="51803" b="14359"/>
            <a:stretch>
              <a:fillRect/>
            </a:stretch>
          </p:blipFill>
          <p:spPr bwMode="auto">
            <a:xfrm>
              <a:off x="371475" y="1184956"/>
              <a:ext cx="3181350" cy="40802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TextBox 15"/>
            <p:cNvSpPr txBox="1"/>
            <p:nvPr/>
          </p:nvSpPr>
          <p:spPr>
            <a:xfrm>
              <a:off x="1705800" y="2790699"/>
              <a:ext cx="24765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dirty="0" smtClean="0"/>
                <a:t>2</a:t>
              </a:r>
              <a:endParaRPr lang="en-GB" sz="1050" dirty="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829625" y="3452419"/>
              <a:ext cx="24765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dirty="0" smtClean="0"/>
                <a:t>5</a:t>
              </a:r>
              <a:endParaRPr lang="en-GB" sz="1050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599200" y="3559904"/>
              <a:ext cx="24765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dirty="0" smtClean="0"/>
                <a:t>6</a:t>
              </a:r>
              <a:endParaRPr lang="en-GB" sz="1050" dirty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530150" y="4266906"/>
              <a:ext cx="24765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dirty="0" smtClean="0"/>
                <a:t>7</a:t>
              </a:r>
              <a:endParaRPr lang="en-GB" sz="1050" dirty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1794531" y="1567135"/>
              <a:ext cx="24765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dirty="0" smtClean="0">
                  <a:solidFill>
                    <a:schemeClr val="bg1"/>
                  </a:solidFill>
                </a:rPr>
                <a:t>9</a:t>
              </a:r>
              <a:endParaRPr lang="en-GB" sz="1050" dirty="0">
                <a:solidFill>
                  <a:schemeClr val="bg1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2141999" y="2375202"/>
              <a:ext cx="3714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 dirty="0" smtClean="0">
                  <a:solidFill>
                    <a:schemeClr val="bg1"/>
                  </a:solidFill>
                </a:rPr>
                <a:t>10</a:t>
              </a:r>
              <a:endParaRPr lang="en-GB" sz="1000" dirty="0">
                <a:solidFill>
                  <a:schemeClr val="bg1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2437533" y="2967670"/>
              <a:ext cx="446401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dirty="0" smtClean="0">
                  <a:solidFill>
                    <a:schemeClr val="bg1"/>
                  </a:solidFill>
                </a:rPr>
                <a:t>12</a:t>
              </a:r>
              <a:endParaRPr lang="en-GB" sz="1050" dirty="0">
                <a:solidFill>
                  <a:schemeClr val="bg1"/>
                </a:solidFill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75450" y="4745081"/>
              <a:ext cx="4104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dirty="0" smtClean="0">
                  <a:solidFill>
                    <a:schemeClr val="bg1"/>
                  </a:solidFill>
                </a:rPr>
                <a:t>8</a:t>
              </a:r>
              <a:endParaRPr lang="en-GB" sz="1050" dirty="0">
                <a:solidFill>
                  <a:schemeClr val="bg1"/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2564540" y="4136101"/>
              <a:ext cx="45720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dirty="0" smtClean="0">
                  <a:solidFill>
                    <a:schemeClr val="bg1"/>
                  </a:solidFill>
                </a:rPr>
                <a:t>1</a:t>
              </a:r>
              <a:endParaRPr lang="en-GB" sz="1050" dirty="0">
                <a:solidFill>
                  <a:schemeClr val="bg1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2207400" y="2063425"/>
              <a:ext cx="3039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dirty="0" smtClean="0"/>
                <a:t>3</a:t>
              </a:r>
              <a:endParaRPr lang="en-GB" sz="1050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443081" y="2852254"/>
              <a:ext cx="24765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dirty="0" smtClean="0"/>
                <a:t>4</a:t>
              </a:r>
              <a:endParaRPr lang="en-GB" sz="1050" dirty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2005425" y="1809509"/>
              <a:ext cx="247650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700" dirty="0" smtClean="0">
                  <a:solidFill>
                    <a:schemeClr val="bg1"/>
                  </a:solidFill>
                </a:rPr>
                <a:t>9</a:t>
              </a:r>
              <a:endParaRPr lang="en-GB" sz="700" dirty="0">
                <a:solidFill>
                  <a:schemeClr val="bg1"/>
                </a:solidFill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840275" y="1998893"/>
              <a:ext cx="24765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dirty="0" smtClean="0">
                  <a:solidFill>
                    <a:schemeClr val="bg1"/>
                  </a:solidFill>
                </a:rPr>
                <a:t>9</a:t>
              </a:r>
              <a:endParaRPr lang="en-GB" sz="1050" dirty="0">
                <a:solidFill>
                  <a:schemeClr val="bg1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2395000" y="2527602"/>
              <a:ext cx="409317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dirty="0" smtClean="0">
                  <a:solidFill>
                    <a:schemeClr val="bg1"/>
                  </a:solidFill>
                </a:rPr>
                <a:t>10</a:t>
              </a:r>
              <a:endParaRPr lang="en-GB" sz="1050" dirty="0">
                <a:solidFill>
                  <a:schemeClr val="bg1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1918355" y="2636812"/>
              <a:ext cx="417219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dirty="0" smtClean="0">
                  <a:solidFill>
                    <a:schemeClr val="bg1"/>
                  </a:solidFill>
                </a:rPr>
                <a:t>10</a:t>
              </a:r>
              <a:endParaRPr lang="en-GB" sz="1050" dirty="0">
                <a:solidFill>
                  <a:schemeClr val="bg1"/>
                </a:solidFill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2223292" y="2921267"/>
              <a:ext cx="394909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800" dirty="0" smtClean="0">
                  <a:solidFill>
                    <a:schemeClr val="bg1"/>
                  </a:solidFill>
                </a:rPr>
                <a:t>11</a:t>
              </a:r>
              <a:endParaRPr lang="en-GB" sz="800" dirty="0">
                <a:solidFill>
                  <a:schemeClr val="bg1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960776" y="3052309"/>
              <a:ext cx="3429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800" dirty="0" smtClean="0">
                  <a:solidFill>
                    <a:schemeClr val="bg1"/>
                  </a:solidFill>
                </a:rPr>
                <a:t>11</a:t>
              </a:r>
              <a:endParaRPr lang="en-GB" sz="800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33" name="Tab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4792793"/>
              </p:ext>
            </p:extLst>
          </p:nvPr>
        </p:nvGraphicFramePr>
        <p:xfrm>
          <a:off x="3965944" y="1184957"/>
          <a:ext cx="4844681" cy="4891248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1813128"/>
                <a:gridCol w="3031553"/>
              </a:tblGrid>
              <a:tr h="21814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u="none" strike="noStrike" dirty="0" smtClean="0">
                          <a:effectLst/>
                          <a:latin typeface="+mj-lt"/>
                        </a:rPr>
                        <a:t>Combined</a:t>
                      </a:r>
                      <a:r>
                        <a:rPr lang="en-GB" sz="800" b="1" u="none" strike="noStrike" baseline="0" dirty="0" smtClean="0">
                          <a:effectLst/>
                          <a:latin typeface="+mj-lt"/>
                        </a:rPr>
                        <a:t> </a:t>
                      </a:r>
                      <a:r>
                        <a:rPr lang="en-GB" sz="800" b="1" u="none" strike="noStrike" dirty="0" smtClean="0">
                          <a:effectLst/>
                          <a:latin typeface="+mj-lt"/>
                        </a:rPr>
                        <a:t>Authority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u="none" strike="noStrike" dirty="0" smtClean="0">
                          <a:effectLst/>
                          <a:latin typeface="+mj-lt"/>
                        </a:rPr>
                        <a:t>Status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solidFill>
                      <a:schemeClr val="accent3"/>
                    </a:solidFill>
                  </a:tcPr>
                </a:tc>
              </a:tr>
              <a:tr h="492441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 u="none" strike="noStrike" dirty="0" smtClean="0">
                          <a:effectLst/>
                          <a:latin typeface="+mj-lt"/>
                        </a:rPr>
                        <a:t>1. </a:t>
                      </a:r>
                      <a:r>
                        <a:rPr lang="en-GB" sz="800" b="0" u="none" strike="noStrike" dirty="0" smtClean="0">
                          <a:effectLst/>
                          <a:latin typeface="+mj-lt"/>
                        </a:rPr>
                        <a:t>London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evolution</a:t>
                      </a:r>
                      <a:r>
                        <a:rPr lang="en-GB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deal -  long standing </a:t>
                      </a: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yor – </a:t>
                      </a:r>
                      <a:r>
                        <a:rPr lang="en-GB" sz="8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adiq</a:t>
                      </a:r>
                      <a:r>
                        <a:rPr lang="en-GB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Khan (Labour)</a:t>
                      </a:r>
                    </a:p>
                  </a:txBody>
                  <a:tcPr marL="36000" marR="3600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492441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u="none" strike="noStrike" dirty="0" smtClean="0">
                          <a:effectLst/>
                          <a:latin typeface="+mj-lt"/>
                        </a:rPr>
                        <a:t>2. </a:t>
                      </a:r>
                      <a:r>
                        <a:rPr lang="en-GB" sz="800" b="0" u="none" strike="noStrike" dirty="0" smtClean="0">
                          <a:effectLst/>
                          <a:latin typeface="+mj-lt"/>
                        </a:rPr>
                        <a:t>Greater</a:t>
                      </a:r>
                      <a:r>
                        <a:rPr lang="en-GB" sz="800" b="0" u="none" strike="noStrike" baseline="0" dirty="0" smtClean="0">
                          <a:effectLst/>
                          <a:latin typeface="+mj-lt"/>
                        </a:rPr>
                        <a:t> Manchester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tablished Combined Authority - Devolution Deal</a:t>
                      </a:r>
                      <a:endParaRPr lang="en-GB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en-GB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tro Mayor – Andy Burnham (Labour).</a:t>
                      </a:r>
                    </a:p>
                  </a:txBody>
                  <a:tcPr marL="36000" marR="36000" marT="0" marB="0" anchor="ctr"/>
                </a:tc>
              </a:tr>
              <a:tr h="492441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u="none" strike="noStrike" dirty="0" smtClean="0">
                          <a:effectLst/>
                          <a:latin typeface="+mj-lt"/>
                        </a:rPr>
                        <a:t>3</a:t>
                      </a:r>
                      <a:r>
                        <a:rPr lang="en-GB" sz="800" u="none" strike="noStrike" dirty="0" smtClean="0">
                          <a:effectLst/>
                          <a:latin typeface="+mj-lt"/>
                        </a:rPr>
                        <a:t>. Tees Valley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 smtClean="0">
                          <a:latin typeface="+mj-lt"/>
                        </a:rPr>
                        <a:t>Established Combined</a:t>
                      </a:r>
                      <a:r>
                        <a:rPr lang="en-GB" sz="800" baseline="0" dirty="0" smtClean="0">
                          <a:latin typeface="+mj-lt"/>
                        </a:rPr>
                        <a:t> Authority - </a:t>
                      </a:r>
                      <a:r>
                        <a:rPr lang="en-GB" sz="800" dirty="0" smtClean="0">
                          <a:latin typeface="+mj-lt"/>
                        </a:rPr>
                        <a:t>Devolution Deal</a:t>
                      </a: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 smtClean="0">
                          <a:latin typeface="+mj-lt"/>
                        </a:rPr>
                        <a:t>Metro Mayor</a:t>
                      </a:r>
                      <a:r>
                        <a:rPr lang="en-GB" sz="800" baseline="0" dirty="0" smtClean="0">
                          <a:latin typeface="+mj-lt"/>
                        </a:rPr>
                        <a:t> – Ben </a:t>
                      </a:r>
                      <a:r>
                        <a:rPr lang="en-GB" sz="800" baseline="0" dirty="0" err="1" smtClean="0">
                          <a:latin typeface="+mj-lt"/>
                        </a:rPr>
                        <a:t>Houchen</a:t>
                      </a:r>
                      <a:r>
                        <a:rPr lang="en-GB" sz="800" baseline="0" dirty="0" smtClean="0">
                          <a:latin typeface="+mj-lt"/>
                        </a:rPr>
                        <a:t> (Conservative).</a:t>
                      </a: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800" dirty="0" smtClean="0">
                        <a:latin typeface="+mj-lt"/>
                      </a:endParaRPr>
                    </a:p>
                  </a:txBody>
                  <a:tcPr marL="36000" marR="36000" marT="0" marB="0" anchor="ctr"/>
                </a:tc>
              </a:tr>
              <a:tr h="355292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u="none" strike="noStrike" dirty="0" smtClean="0">
                          <a:effectLst/>
                          <a:latin typeface="+mj-lt"/>
                        </a:rPr>
                        <a:t>4. </a:t>
                      </a:r>
                      <a:r>
                        <a:rPr lang="en-GB" sz="800" u="none" strike="noStrike" dirty="0" smtClean="0">
                          <a:effectLst/>
                          <a:latin typeface="+mj-lt"/>
                        </a:rPr>
                        <a:t>Liverpool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r>
                        <a:rPr lang="en-GB" sz="800" dirty="0" smtClean="0">
                          <a:latin typeface="+mj-lt"/>
                        </a:rPr>
                        <a:t>Established</a:t>
                      </a:r>
                      <a:r>
                        <a:rPr lang="en-GB" sz="800" baseline="0" dirty="0" smtClean="0">
                          <a:latin typeface="+mj-lt"/>
                        </a:rPr>
                        <a:t> Combined Authority – Devolution Deal</a:t>
                      </a:r>
                    </a:p>
                    <a:p>
                      <a:r>
                        <a:rPr lang="en-GB" sz="800" baseline="0" dirty="0" smtClean="0">
                          <a:latin typeface="+mj-lt"/>
                        </a:rPr>
                        <a:t>Metro Mayor – Steve </a:t>
                      </a:r>
                      <a:r>
                        <a:rPr lang="en-GB" sz="800" baseline="0" dirty="0" err="1" smtClean="0">
                          <a:latin typeface="+mj-lt"/>
                        </a:rPr>
                        <a:t>Rotheram</a:t>
                      </a:r>
                      <a:r>
                        <a:rPr lang="en-GB" sz="800" baseline="0" dirty="0" smtClean="0">
                          <a:latin typeface="+mj-lt"/>
                        </a:rPr>
                        <a:t> (Labour).</a:t>
                      </a:r>
                      <a:endParaRPr lang="en-GB" sz="800" dirty="0">
                        <a:latin typeface="+mj-lt"/>
                      </a:endParaRPr>
                    </a:p>
                  </a:txBody>
                  <a:tcPr marL="36000" marR="36000" marT="0" marB="0" anchor="ctr"/>
                </a:tc>
              </a:tr>
              <a:tr h="355292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u="none" strike="noStrike" dirty="0" smtClean="0">
                          <a:effectLst/>
                          <a:latin typeface="+mj-lt"/>
                        </a:rPr>
                        <a:t>5. </a:t>
                      </a:r>
                      <a:r>
                        <a:rPr lang="en-GB" sz="800" u="none" strike="noStrike" dirty="0" smtClean="0">
                          <a:effectLst/>
                          <a:latin typeface="+mj-lt"/>
                        </a:rPr>
                        <a:t>West</a:t>
                      </a:r>
                      <a:r>
                        <a:rPr lang="en-GB" sz="800" u="none" strike="noStrike" baseline="0" dirty="0" smtClean="0">
                          <a:effectLst/>
                          <a:latin typeface="+mj-lt"/>
                        </a:rPr>
                        <a:t> Midlands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u="none" strike="noStrike" dirty="0" smtClean="0">
                          <a:effectLst/>
                          <a:latin typeface="+mj-lt"/>
                        </a:rPr>
                        <a:t>Established Combined Authority - Devolution Deal</a:t>
                      </a:r>
                    </a:p>
                    <a:p>
                      <a:pPr algn="l" fontAlgn="b"/>
                      <a:r>
                        <a:rPr lang="en-GB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tro Mayor – Andy Street</a:t>
                      </a:r>
                      <a:r>
                        <a:rPr lang="en-GB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Conservative).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0" marB="0" anchor="ctr"/>
                </a:tc>
              </a:tr>
              <a:tr h="355292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u="none" strike="noStrike" dirty="0" smtClean="0">
                          <a:effectLst/>
                          <a:latin typeface="+mj-lt"/>
                        </a:rPr>
                        <a:t>6. </a:t>
                      </a:r>
                      <a:r>
                        <a:rPr lang="en-GB" sz="800" u="none" strike="noStrike" dirty="0" smtClean="0">
                          <a:effectLst/>
                          <a:latin typeface="+mj-lt"/>
                        </a:rPr>
                        <a:t>Cambridge</a:t>
                      </a:r>
                      <a:r>
                        <a:rPr lang="en-GB" sz="800" u="none" strike="noStrike" baseline="0" dirty="0" smtClean="0">
                          <a:effectLst/>
                          <a:latin typeface="+mj-lt"/>
                        </a:rPr>
                        <a:t> &amp; Peterborough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u="none" strike="noStrike" dirty="0" smtClean="0">
                          <a:effectLst/>
                          <a:latin typeface="+mj-lt"/>
                        </a:rPr>
                        <a:t>Established Combined Authority - Devolution Deal</a:t>
                      </a: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tro Mayor – James Palmer </a:t>
                      </a:r>
                      <a:r>
                        <a:rPr lang="en-GB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Conservative).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0" marB="0" anchor="ctr"/>
                </a:tc>
              </a:tr>
              <a:tr h="355292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u="none" strike="noStrike" dirty="0" smtClean="0">
                          <a:effectLst/>
                          <a:latin typeface="+mj-lt"/>
                        </a:rPr>
                        <a:t>7. </a:t>
                      </a:r>
                      <a:r>
                        <a:rPr lang="en-GB" sz="800" u="none" strike="noStrike" dirty="0" smtClean="0">
                          <a:effectLst/>
                          <a:latin typeface="+mj-lt"/>
                        </a:rPr>
                        <a:t>West of England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u="none" strike="noStrike" dirty="0" smtClean="0">
                          <a:effectLst/>
                          <a:latin typeface="+mj-lt"/>
                        </a:rPr>
                        <a:t>Established Combined Authority</a:t>
                      </a:r>
                    </a:p>
                    <a:p>
                      <a:pPr algn="l" fontAlgn="b"/>
                      <a:r>
                        <a:rPr lang="en-GB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tro</a:t>
                      </a:r>
                      <a:r>
                        <a:rPr lang="en-GB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Mayor – Tim Bowles (Conservative).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0" marB="0" anchor="ctr"/>
                </a:tc>
              </a:tr>
              <a:tr h="35529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 u="none" strike="noStrike" dirty="0" smtClean="0">
                          <a:effectLst/>
                          <a:latin typeface="+mj-lt"/>
                        </a:rPr>
                        <a:t>8. </a:t>
                      </a:r>
                      <a:r>
                        <a:rPr lang="en-GB" sz="800" b="0" u="none" strike="noStrike" dirty="0" smtClean="0">
                          <a:effectLst/>
                          <a:latin typeface="+mj-lt"/>
                        </a:rPr>
                        <a:t>Cornwall</a:t>
                      </a:r>
                      <a:endParaRPr lang="en-GB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evolution deal </a:t>
                      </a:r>
                    </a:p>
                  </a:txBody>
                  <a:tcPr marL="36000" marR="36000" marT="0" marB="0" anchor="ctr"/>
                </a:tc>
              </a:tr>
              <a:tr h="354270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 u="none" strike="noStrike" kern="1200" dirty="0" smtClean="0">
                          <a:effectLst/>
                          <a:latin typeface="+mj-lt"/>
                        </a:rPr>
                        <a:t>9</a:t>
                      </a:r>
                      <a:r>
                        <a:rPr lang="en-GB" sz="800" u="none" strike="noStrike" kern="1200" dirty="0" smtClean="0">
                          <a:effectLst/>
                          <a:latin typeface="+mj-lt"/>
                        </a:rPr>
                        <a:t>. North East</a:t>
                      </a:r>
                      <a:endParaRPr lang="en-GB" sz="8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iscussions</a:t>
                      </a:r>
                      <a:r>
                        <a:rPr lang="en-GB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re-opened after original deal was rejected.</a:t>
                      </a:r>
                      <a:endParaRPr lang="en-GB" sz="800" u="none" strike="noStrike" kern="1200" dirty="0" smtClean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solidFill>
                      <a:schemeClr val="bg2"/>
                    </a:solidFill>
                  </a:tcPr>
                </a:tc>
              </a:tr>
              <a:tr h="354270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 i="0" u="none" strike="noStrike" kern="1200" dirty="0" smtClean="0">
                          <a:effectLst/>
                          <a:latin typeface="+mj-lt"/>
                        </a:rPr>
                        <a:t>10</a:t>
                      </a:r>
                      <a:r>
                        <a:rPr lang="en-GB" sz="800" u="none" strike="noStrike" kern="1200" dirty="0" smtClean="0">
                          <a:effectLst/>
                          <a:latin typeface="+mj-lt"/>
                        </a:rPr>
                        <a:t>. </a:t>
                      </a:r>
                      <a:r>
                        <a:rPr lang="en-GB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Yorkshire</a:t>
                      </a:r>
                      <a:endParaRPr lang="en-GB" sz="8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arly</a:t>
                      </a:r>
                      <a:r>
                        <a:rPr lang="en-GB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discussions, no deal agreed yet.</a:t>
                      </a:r>
                      <a:endParaRPr lang="en-GB" sz="800" u="none" strike="noStrike" kern="1200" dirty="0" smtClean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solidFill>
                      <a:schemeClr val="bg2"/>
                    </a:solidFill>
                  </a:tcPr>
                </a:tc>
              </a:tr>
              <a:tr h="35651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 u="none" strike="noStrike" kern="1200" dirty="0" smtClean="0">
                          <a:effectLst/>
                          <a:latin typeface="+mj-lt"/>
                        </a:rPr>
                        <a:t>11. </a:t>
                      </a:r>
                      <a:r>
                        <a:rPr lang="en-GB" sz="800" u="none" strike="noStrike" kern="1200" dirty="0" smtClean="0">
                          <a:effectLst/>
                          <a:latin typeface="+mj-lt"/>
                        </a:rPr>
                        <a:t>Sheffield City Region</a:t>
                      </a:r>
                      <a:endParaRPr lang="en-GB" sz="8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etro mayor election  delayed until May</a:t>
                      </a:r>
                      <a:r>
                        <a:rPr lang="en-GB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2018, after High Court ruled public consultation illegal.</a:t>
                      </a:r>
                      <a:endParaRPr lang="en-GB" sz="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solidFill>
                      <a:schemeClr val="bg2"/>
                    </a:solidFill>
                  </a:tcPr>
                </a:tc>
              </a:tr>
              <a:tr h="354270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 u="none" strike="noStrike" kern="1200" dirty="0" smtClean="0">
                          <a:effectLst/>
                          <a:latin typeface="+mj-lt"/>
                        </a:rPr>
                        <a:t>12</a:t>
                      </a:r>
                      <a:r>
                        <a:rPr lang="en-GB" sz="800" u="none" strike="noStrike" kern="1200" dirty="0" smtClean="0">
                          <a:effectLst/>
                          <a:latin typeface="+mj-lt"/>
                        </a:rPr>
                        <a:t>.</a:t>
                      </a:r>
                      <a:r>
                        <a:rPr lang="en-GB" sz="800" u="none" strike="noStrike" kern="1200" baseline="0" dirty="0" smtClean="0">
                          <a:effectLst/>
                          <a:latin typeface="+mj-lt"/>
                        </a:rPr>
                        <a:t> Greater Lincolnshire</a:t>
                      </a:r>
                      <a:endParaRPr lang="en-GB" sz="8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 smtClean="0">
                          <a:latin typeface="+mj-lt"/>
                        </a:rPr>
                        <a:t>Deal currently</a:t>
                      </a:r>
                      <a:r>
                        <a:rPr lang="en-GB" sz="800" baseline="0" dirty="0" smtClean="0">
                          <a:latin typeface="+mj-lt"/>
                        </a:rPr>
                        <a:t> off, after County Councillors voted against it.</a:t>
                      </a:r>
                      <a:endParaRPr lang="en-GB" sz="800" dirty="0">
                        <a:latin typeface="+mj-lt"/>
                      </a:endParaRPr>
                    </a:p>
                  </a:txBody>
                  <a:tcPr marL="36000" marR="36000" marT="0" marB="0" anchor="ctr"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58429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4830" y="260648"/>
            <a:ext cx="6834022" cy="666750"/>
          </a:xfrm>
        </p:spPr>
        <p:txBody>
          <a:bodyPr>
            <a:normAutofit/>
          </a:bodyPr>
          <a:lstStyle/>
          <a:p>
            <a:r>
              <a:rPr lang="en-GB" sz="2400" dirty="0" smtClean="0"/>
              <a:t>NHS Challenges</a:t>
            </a:r>
            <a:endParaRPr lang="en-GB" sz="2400" b="1" dirty="0">
              <a:latin typeface="Frutiger" panose="020B0500000000000000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2162" y="1274751"/>
            <a:ext cx="84140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Frutiger" panose="020B0500000000000000" pitchFamily="34" charset="0"/>
              </a:rPr>
              <a:t>	</a:t>
            </a:r>
            <a:endParaRPr lang="en-GB" sz="1200" dirty="0" smtClean="0">
              <a:latin typeface="Frutiger" panose="020B0500000000000000" pitchFamily="34" charset="0"/>
            </a:endParaRPr>
          </a:p>
          <a:p>
            <a:r>
              <a:rPr lang="en-GB" sz="1200" dirty="0">
                <a:latin typeface="Frutiger" panose="020B0500000000000000" pitchFamily="34" charset="0"/>
              </a:rPr>
              <a:t>	</a:t>
            </a:r>
            <a:endParaRPr lang="en-GB" sz="1400" dirty="0" smtClean="0">
              <a:latin typeface="Frutiger" panose="020B0500000000000000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24830" y="4090453"/>
            <a:ext cx="84140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Frutiger" panose="020B0500000000000000" pitchFamily="34" charset="0"/>
              </a:rPr>
              <a:t>	</a:t>
            </a:r>
            <a:endParaRPr lang="en-GB" sz="1200" dirty="0" smtClean="0">
              <a:latin typeface="Frutiger" panose="020B0500000000000000" pitchFamily="34" charset="0"/>
            </a:endParaRPr>
          </a:p>
          <a:p>
            <a:r>
              <a:rPr lang="en-GB" sz="1200" dirty="0">
                <a:latin typeface="Frutiger" panose="020B0500000000000000" pitchFamily="34" charset="0"/>
              </a:rPr>
              <a:t>	</a:t>
            </a:r>
            <a:endParaRPr lang="en-GB" sz="1400" dirty="0" smtClean="0">
              <a:latin typeface="Frutiger" panose="020B0500000000000000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24830" y="4194102"/>
            <a:ext cx="84140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Frutiger" panose="020B0500000000000000" pitchFamily="34" charset="0"/>
              </a:rPr>
              <a:t>	</a:t>
            </a:r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  </a:t>
            </a:r>
            <a:endParaRPr lang="en-GB" sz="1600" dirty="0" smtClean="0">
              <a:latin typeface="Frutiger" panose="020B0500000000000000" pitchFamily="34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4868981" y="4449379"/>
            <a:ext cx="2525560" cy="1880123"/>
            <a:chOff x="5721184" y="4159152"/>
            <a:chExt cx="2525560" cy="1880123"/>
          </a:xfrm>
        </p:grpSpPr>
        <p:sp>
          <p:nvSpPr>
            <p:cNvPr id="16" name="Cloud Callout 15"/>
            <p:cNvSpPr/>
            <p:nvPr/>
          </p:nvSpPr>
          <p:spPr bwMode="auto">
            <a:xfrm>
              <a:off x="5942488" y="4159152"/>
              <a:ext cx="2304256" cy="1880123"/>
            </a:xfrm>
            <a:prstGeom prst="cloudCallout">
              <a:avLst>
                <a:gd name="adj1" fmla="val -88946"/>
                <a:gd name="adj2" fmla="val -22430"/>
              </a:avLst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6369184" y="4475459"/>
              <a:ext cx="1450864" cy="1092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300" b="1" dirty="0" smtClean="0">
                  <a:latin typeface="Frutiger" panose="020B0500000000000000" pitchFamily="34" charset="0"/>
                </a:rPr>
                <a:t>18% of emissions are associated with the last 1% of the journey</a:t>
              </a:r>
              <a:endParaRPr lang="en-GB" sz="1300" b="1" dirty="0">
                <a:latin typeface="Frutiger" panose="020B0500000000000000" pitchFamily="34" charset="0"/>
              </a:endParaRP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5721184" y="5244066"/>
              <a:ext cx="648000" cy="648000"/>
              <a:chOff x="6456083" y="1845419"/>
              <a:chExt cx="648000" cy="648000"/>
            </a:xfrm>
          </p:grpSpPr>
          <p:grpSp>
            <p:nvGrpSpPr>
              <p:cNvPr id="19" name="Group 18"/>
              <p:cNvGrpSpPr/>
              <p:nvPr/>
            </p:nvGrpSpPr>
            <p:grpSpPr>
              <a:xfrm>
                <a:off x="6456083" y="1845419"/>
                <a:ext cx="648000" cy="648000"/>
                <a:chOff x="1699115" y="3779464"/>
                <a:chExt cx="648000" cy="648000"/>
              </a:xfrm>
            </p:grpSpPr>
            <p:sp>
              <p:nvSpPr>
                <p:cNvPr id="23" name="Oval 22"/>
                <p:cNvSpPr>
                  <a:spLocks/>
                </p:cNvSpPr>
                <p:nvPr/>
              </p:nvSpPr>
              <p:spPr bwMode="auto">
                <a:xfrm>
                  <a:off x="1699115" y="3779464"/>
                  <a:ext cx="648000" cy="648000"/>
                </a:xfrm>
                <a:prstGeom prst="ellipse">
                  <a:avLst/>
                </a:prstGeom>
                <a:solidFill>
                  <a:schemeClr val="bg1"/>
                </a:solidFill>
                <a:ln w="31750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95363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GB" sz="14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grpSp>
              <p:nvGrpSpPr>
                <p:cNvPr id="24" name="Group 23"/>
                <p:cNvGrpSpPr>
                  <a:grpSpLocks noChangeAspect="1"/>
                </p:cNvGrpSpPr>
                <p:nvPr/>
              </p:nvGrpSpPr>
              <p:grpSpPr>
                <a:xfrm>
                  <a:off x="1836217" y="3943622"/>
                  <a:ext cx="350045" cy="319683"/>
                  <a:chOff x="3367088" y="3500438"/>
                  <a:chExt cx="933451" cy="852487"/>
                </a:xfrm>
                <a:solidFill>
                  <a:schemeClr val="bg1"/>
                </a:solidFill>
              </p:grpSpPr>
              <p:sp>
                <p:nvSpPr>
                  <p:cNvPr id="25" name="Freeform 26"/>
                  <p:cNvSpPr>
                    <a:spLocks noEditPoints="1"/>
                  </p:cNvSpPr>
                  <p:nvPr/>
                </p:nvSpPr>
                <p:spPr bwMode="auto">
                  <a:xfrm>
                    <a:off x="3765551" y="3500438"/>
                    <a:ext cx="415925" cy="473075"/>
                  </a:xfrm>
                  <a:custGeom>
                    <a:avLst/>
                    <a:gdLst>
                      <a:gd name="T0" fmla="*/ 108 w 262"/>
                      <a:gd name="T1" fmla="*/ 137 h 298"/>
                      <a:gd name="T2" fmla="*/ 9 w 262"/>
                      <a:gd name="T3" fmla="*/ 45 h 298"/>
                      <a:gd name="T4" fmla="*/ 146 w 262"/>
                      <a:gd name="T5" fmla="*/ 0 h 298"/>
                      <a:gd name="T6" fmla="*/ 144 w 262"/>
                      <a:gd name="T7" fmla="*/ 128 h 298"/>
                      <a:gd name="T8" fmla="*/ 108 w 262"/>
                      <a:gd name="T9" fmla="*/ 137 h 298"/>
                      <a:gd name="T10" fmla="*/ 108 w 262"/>
                      <a:gd name="T11" fmla="*/ 137 h 298"/>
                      <a:gd name="T12" fmla="*/ 158 w 262"/>
                      <a:gd name="T13" fmla="*/ 123 h 298"/>
                      <a:gd name="T14" fmla="*/ 158 w 262"/>
                      <a:gd name="T15" fmla="*/ 0 h 298"/>
                      <a:gd name="T16" fmla="*/ 255 w 262"/>
                      <a:gd name="T17" fmla="*/ 90 h 298"/>
                      <a:gd name="T18" fmla="*/ 158 w 262"/>
                      <a:gd name="T19" fmla="*/ 123 h 298"/>
                      <a:gd name="T20" fmla="*/ 158 w 262"/>
                      <a:gd name="T21" fmla="*/ 123 h 298"/>
                      <a:gd name="T22" fmla="*/ 0 w 262"/>
                      <a:gd name="T23" fmla="*/ 201 h 298"/>
                      <a:gd name="T24" fmla="*/ 0 w 262"/>
                      <a:gd name="T25" fmla="*/ 52 h 298"/>
                      <a:gd name="T26" fmla="*/ 101 w 262"/>
                      <a:gd name="T27" fmla="*/ 147 h 298"/>
                      <a:gd name="T28" fmla="*/ 101 w 262"/>
                      <a:gd name="T29" fmla="*/ 298 h 298"/>
                      <a:gd name="T30" fmla="*/ 0 w 262"/>
                      <a:gd name="T31" fmla="*/ 201 h 298"/>
                      <a:gd name="T32" fmla="*/ 0 w 262"/>
                      <a:gd name="T33" fmla="*/ 201 h 298"/>
                      <a:gd name="T34" fmla="*/ 113 w 262"/>
                      <a:gd name="T35" fmla="*/ 149 h 298"/>
                      <a:gd name="T36" fmla="*/ 262 w 262"/>
                      <a:gd name="T37" fmla="*/ 99 h 298"/>
                      <a:gd name="T38" fmla="*/ 262 w 262"/>
                      <a:gd name="T39" fmla="*/ 251 h 298"/>
                      <a:gd name="T40" fmla="*/ 113 w 262"/>
                      <a:gd name="T41" fmla="*/ 298 h 298"/>
                      <a:gd name="T42" fmla="*/ 113 w 262"/>
                      <a:gd name="T43" fmla="*/ 149 h 298"/>
                      <a:gd name="T44" fmla="*/ 113 w 262"/>
                      <a:gd name="T45" fmla="*/ 149 h 29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62" h="298">
                        <a:moveTo>
                          <a:pt x="108" y="137"/>
                        </a:moveTo>
                        <a:lnTo>
                          <a:pt x="9" y="45"/>
                        </a:lnTo>
                        <a:lnTo>
                          <a:pt x="146" y="0"/>
                        </a:lnTo>
                        <a:lnTo>
                          <a:pt x="144" y="128"/>
                        </a:lnTo>
                        <a:lnTo>
                          <a:pt x="108" y="137"/>
                        </a:lnTo>
                        <a:lnTo>
                          <a:pt x="108" y="137"/>
                        </a:lnTo>
                        <a:close/>
                        <a:moveTo>
                          <a:pt x="158" y="123"/>
                        </a:moveTo>
                        <a:lnTo>
                          <a:pt x="158" y="0"/>
                        </a:lnTo>
                        <a:lnTo>
                          <a:pt x="255" y="90"/>
                        </a:lnTo>
                        <a:lnTo>
                          <a:pt x="158" y="123"/>
                        </a:lnTo>
                        <a:lnTo>
                          <a:pt x="158" y="123"/>
                        </a:lnTo>
                        <a:close/>
                        <a:moveTo>
                          <a:pt x="0" y="201"/>
                        </a:moveTo>
                        <a:lnTo>
                          <a:pt x="0" y="52"/>
                        </a:lnTo>
                        <a:lnTo>
                          <a:pt x="101" y="147"/>
                        </a:lnTo>
                        <a:lnTo>
                          <a:pt x="101" y="298"/>
                        </a:lnTo>
                        <a:lnTo>
                          <a:pt x="0" y="201"/>
                        </a:lnTo>
                        <a:lnTo>
                          <a:pt x="0" y="201"/>
                        </a:lnTo>
                        <a:close/>
                        <a:moveTo>
                          <a:pt x="113" y="149"/>
                        </a:moveTo>
                        <a:lnTo>
                          <a:pt x="262" y="99"/>
                        </a:lnTo>
                        <a:lnTo>
                          <a:pt x="262" y="251"/>
                        </a:lnTo>
                        <a:lnTo>
                          <a:pt x="113" y="298"/>
                        </a:lnTo>
                        <a:lnTo>
                          <a:pt x="113" y="149"/>
                        </a:lnTo>
                        <a:lnTo>
                          <a:pt x="113" y="14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6" name="Freeform 27"/>
                  <p:cNvSpPr>
                    <a:spLocks noEditPoints="1"/>
                  </p:cNvSpPr>
                  <p:nvPr/>
                </p:nvSpPr>
                <p:spPr bwMode="auto">
                  <a:xfrm>
                    <a:off x="4102101" y="3935413"/>
                    <a:ext cx="198438" cy="417512"/>
                  </a:xfrm>
                  <a:custGeom>
                    <a:avLst/>
                    <a:gdLst>
                      <a:gd name="T0" fmla="*/ 46 w 53"/>
                      <a:gd name="T1" fmla="*/ 6 h 111"/>
                      <a:gd name="T2" fmla="*/ 35 w 53"/>
                      <a:gd name="T3" fmla="*/ 0 h 111"/>
                      <a:gd name="T4" fmla="*/ 29 w 53"/>
                      <a:gd name="T5" fmla="*/ 10 h 111"/>
                      <a:gd name="T6" fmla="*/ 0 w 53"/>
                      <a:gd name="T7" fmla="*/ 17 h 111"/>
                      <a:gd name="T8" fmla="*/ 8 w 53"/>
                      <a:gd name="T9" fmla="*/ 111 h 111"/>
                      <a:gd name="T10" fmla="*/ 53 w 53"/>
                      <a:gd name="T11" fmla="*/ 103 h 111"/>
                      <a:gd name="T12" fmla="*/ 46 w 53"/>
                      <a:gd name="T13" fmla="*/ 10 h 111"/>
                      <a:gd name="T14" fmla="*/ 11 w 53"/>
                      <a:gd name="T15" fmla="*/ 102 h 111"/>
                      <a:gd name="T16" fmla="*/ 11 w 53"/>
                      <a:gd name="T17" fmla="*/ 93 h 111"/>
                      <a:gd name="T18" fmla="*/ 17 w 53"/>
                      <a:gd name="T19" fmla="*/ 98 h 111"/>
                      <a:gd name="T20" fmla="*/ 13 w 53"/>
                      <a:gd name="T21" fmla="*/ 88 h 111"/>
                      <a:gd name="T22" fmla="*/ 7 w 53"/>
                      <a:gd name="T23" fmla="*/ 84 h 111"/>
                      <a:gd name="T24" fmla="*/ 13 w 53"/>
                      <a:gd name="T25" fmla="*/ 79 h 111"/>
                      <a:gd name="T26" fmla="*/ 13 w 53"/>
                      <a:gd name="T27" fmla="*/ 88 h 111"/>
                      <a:gd name="T28" fmla="*/ 11 w 53"/>
                      <a:gd name="T29" fmla="*/ 74 h 111"/>
                      <a:gd name="T30" fmla="*/ 11 w 53"/>
                      <a:gd name="T31" fmla="*/ 65 h 111"/>
                      <a:gd name="T32" fmla="*/ 17 w 53"/>
                      <a:gd name="T33" fmla="*/ 70 h 111"/>
                      <a:gd name="T34" fmla="*/ 27 w 53"/>
                      <a:gd name="T35" fmla="*/ 102 h 111"/>
                      <a:gd name="T36" fmla="*/ 21 w 53"/>
                      <a:gd name="T37" fmla="*/ 98 h 111"/>
                      <a:gd name="T38" fmla="*/ 27 w 53"/>
                      <a:gd name="T39" fmla="*/ 93 h 111"/>
                      <a:gd name="T40" fmla="*/ 27 w 53"/>
                      <a:gd name="T41" fmla="*/ 102 h 111"/>
                      <a:gd name="T42" fmla="*/ 26 w 53"/>
                      <a:gd name="T43" fmla="*/ 88 h 111"/>
                      <a:gd name="T44" fmla="*/ 26 w 53"/>
                      <a:gd name="T45" fmla="*/ 79 h 111"/>
                      <a:gd name="T46" fmla="*/ 32 w 53"/>
                      <a:gd name="T47" fmla="*/ 84 h 111"/>
                      <a:gd name="T48" fmla="*/ 27 w 53"/>
                      <a:gd name="T49" fmla="*/ 74 h 111"/>
                      <a:gd name="T50" fmla="*/ 21 w 53"/>
                      <a:gd name="T51" fmla="*/ 70 h 111"/>
                      <a:gd name="T52" fmla="*/ 27 w 53"/>
                      <a:gd name="T53" fmla="*/ 65 h 111"/>
                      <a:gd name="T54" fmla="*/ 27 w 53"/>
                      <a:gd name="T55" fmla="*/ 74 h 111"/>
                      <a:gd name="T56" fmla="*/ 19 w 53"/>
                      <a:gd name="T57" fmla="*/ 59 h 111"/>
                      <a:gd name="T58" fmla="*/ 19 w 53"/>
                      <a:gd name="T59" fmla="*/ 56 h 111"/>
                      <a:gd name="T60" fmla="*/ 36 w 53"/>
                      <a:gd name="T61" fmla="*/ 57 h 111"/>
                      <a:gd name="T62" fmla="*/ 42 w 53"/>
                      <a:gd name="T63" fmla="*/ 102 h 111"/>
                      <a:gd name="T64" fmla="*/ 36 w 53"/>
                      <a:gd name="T65" fmla="*/ 98 h 111"/>
                      <a:gd name="T66" fmla="*/ 42 w 53"/>
                      <a:gd name="T67" fmla="*/ 93 h 111"/>
                      <a:gd name="T68" fmla="*/ 42 w 53"/>
                      <a:gd name="T69" fmla="*/ 102 h 111"/>
                      <a:gd name="T70" fmla="*/ 40 w 53"/>
                      <a:gd name="T71" fmla="*/ 88 h 111"/>
                      <a:gd name="T72" fmla="*/ 40 w 53"/>
                      <a:gd name="T73" fmla="*/ 79 h 111"/>
                      <a:gd name="T74" fmla="*/ 46 w 53"/>
                      <a:gd name="T75" fmla="*/ 84 h 111"/>
                      <a:gd name="T76" fmla="*/ 42 w 53"/>
                      <a:gd name="T77" fmla="*/ 74 h 111"/>
                      <a:gd name="T78" fmla="*/ 36 w 53"/>
                      <a:gd name="T79" fmla="*/ 70 h 111"/>
                      <a:gd name="T80" fmla="*/ 42 w 53"/>
                      <a:gd name="T81" fmla="*/ 65 h 111"/>
                      <a:gd name="T82" fmla="*/ 42 w 53"/>
                      <a:gd name="T83" fmla="*/ 74 h 111"/>
                      <a:gd name="T84" fmla="*/ 40 w 53"/>
                      <a:gd name="T85" fmla="*/ 52 h 111"/>
                      <a:gd name="T86" fmla="*/ 7 w 53"/>
                      <a:gd name="T87" fmla="*/ 46 h 111"/>
                      <a:gd name="T88" fmla="*/ 13 w 53"/>
                      <a:gd name="T89" fmla="*/ 21 h 111"/>
                      <a:gd name="T90" fmla="*/ 46 w 53"/>
                      <a:gd name="T91" fmla="*/ 27 h 1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</a:cxnLst>
                    <a:rect l="0" t="0" r="r" b="b"/>
                    <a:pathLst>
                      <a:path w="53" h="111">
                        <a:moveTo>
                          <a:pt x="46" y="10"/>
                        </a:moveTo>
                        <a:cubicBezTo>
                          <a:pt x="46" y="6"/>
                          <a:pt x="46" y="6"/>
                          <a:pt x="46" y="6"/>
                        </a:cubicBezTo>
                        <a:cubicBezTo>
                          <a:pt x="46" y="3"/>
                          <a:pt x="43" y="0"/>
                          <a:pt x="40" y="0"/>
                        </a:cubicBezTo>
                        <a:cubicBezTo>
                          <a:pt x="35" y="0"/>
                          <a:pt x="35" y="0"/>
                          <a:pt x="35" y="0"/>
                        </a:cubicBezTo>
                        <a:cubicBezTo>
                          <a:pt x="31" y="0"/>
                          <a:pt x="29" y="3"/>
                          <a:pt x="29" y="6"/>
                        </a:cubicBezTo>
                        <a:cubicBezTo>
                          <a:pt x="29" y="10"/>
                          <a:pt x="29" y="10"/>
                          <a:pt x="29" y="10"/>
                        </a:cubicBezTo>
                        <a:cubicBezTo>
                          <a:pt x="8" y="10"/>
                          <a:pt x="8" y="10"/>
                          <a:pt x="8" y="10"/>
                        </a:cubicBezTo>
                        <a:cubicBezTo>
                          <a:pt x="3" y="10"/>
                          <a:pt x="0" y="13"/>
                          <a:pt x="0" y="17"/>
                        </a:cubicBezTo>
                        <a:cubicBezTo>
                          <a:pt x="0" y="103"/>
                          <a:pt x="0" y="103"/>
                          <a:pt x="0" y="103"/>
                        </a:cubicBezTo>
                        <a:cubicBezTo>
                          <a:pt x="0" y="107"/>
                          <a:pt x="3" y="111"/>
                          <a:pt x="8" y="111"/>
                        </a:cubicBezTo>
                        <a:cubicBezTo>
                          <a:pt x="45" y="111"/>
                          <a:pt x="45" y="111"/>
                          <a:pt x="45" y="111"/>
                        </a:cubicBezTo>
                        <a:cubicBezTo>
                          <a:pt x="49" y="111"/>
                          <a:pt x="53" y="107"/>
                          <a:pt x="53" y="103"/>
                        </a:cubicBezTo>
                        <a:cubicBezTo>
                          <a:pt x="53" y="17"/>
                          <a:pt x="53" y="17"/>
                          <a:pt x="53" y="17"/>
                        </a:cubicBezTo>
                        <a:cubicBezTo>
                          <a:pt x="53" y="13"/>
                          <a:pt x="50" y="10"/>
                          <a:pt x="46" y="10"/>
                        </a:cubicBezTo>
                        <a:close/>
                        <a:moveTo>
                          <a:pt x="13" y="102"/>
                        </a:moveTo>
                        <a:cubicBezTo>
                          <a:pt x="11" y="102"/>
                          <a:pt x="11" y="102"/>
                          <a:pt x="11" y="102"/>
                        </a:cubicBezTo>
                        <a:cubicBezTo>
                          <a:pt x="9" y="102"/>
                          <a:pt x="7" y="100"/>
                          <a:pt x="7" y="98"/>
                        </a:cubicBezTo>
                        <a:cubicBezTo>
                          <a:pt x="7" y="95"/>
                          <a:pt x="9" y="93"/>
                          <a:pt x="11" y="93"/>
                        </a:cubicBezTo>
                        <a:cubicBezTo>
                          <a:pt x="13" y="93"/>
                          <a:pt x="13" y="93"/>
                          <a:pt x="13" y="93"/>
                        </a:cubicBezTo>
                        <a:cubicBezTo>
                          <a:pt x="15" y="93"/>
                          <a:pt x="17" y="95"/>
                          <a:pt x="17" y="98"/>
                        </a:cubicBezTo>
                        <a:cubicBezTo>
                          <a:pt x="17" y="100"/>
                          <a:pt x="15" y="102"/>
                          <a:pt x="13" y="102"/>
                        </a:cubicBezTo>
                        <a:close/>
                        <a:moveTo>
                          <a:pt x="13" y="88"/>
                        </a:moveTo>
                        <a:cubicBezTo>
                          <a:pt x="11" y="88"/>
                          <a:pt x="11" y="88"/>
                          <a:pt x="11" y="88"/>
                        </a:cubicBezTo>
                        <a:cubicBezTo>
                          <a:pt x="9" y="88"/>
                          <a:pt x="7" y="86"/>
                          <a:pt x="7" y="84"/>
                        </a:cubicBezTo>
                        <a:cubicBezTo>
                          <a:pt x="7" y="81"/>
                          <a:pt x="9" y="79"/>
                          <a:pt x="11" y="79"/>
                        </a:cubicBezTo>
                        <a:cubicBezTo>
                          <a:pt x="13" y="79"/>
                          <a:pt x="13" y="79"/>
                          <a:pt x="13" y="79"/>
                        </a:cubicBezTo>
                        <a:cubicBezTo>
                          <a:pt x="15" y="79"/>
                          <a:pt x="17" y="81"/>
                          <a:pt x="17" y="84"/>
                        </a:cubicBezTo>
                        <a:cubicBezTo>
                          <a:pt x="17" y="86"/>
                          <a:pt x="15" y="88"/>
                          <a:pt x="13" y="88"/>
                        </a:cubicBezTo>
                        <a:close/>
                        <a:moveTo>
                          <a:pt x="13" y="74"/>
                        </a:moveTo>
                        <a:cubicBezTo>
                          <a:pt x="11" y="74"/>
                          <a:pt x="11" y="74"/>
                          <a:pt x="11" y="74"/>
                        </a:cubicBezTo>
                        <a:cubicBezTo>
                          <a:pt x="9" y="74"/>
                          <a:pt x="7" y="72"/>
                          <a:pt x="7" y="70"/>
                        </a:cubicBezTo>
                        <a:cubicBezTo>
                          <a:pt x="7" y="67"/>
                          <a:pt x="9" y="65"/>
                          <a:pt x="11" y="65"/>
                        </a:cubicBezTo>
                        <a:cubicBezTo>
                          <a:pt x="13" y="65"/>
                          <a:pt x="13" y="65"/>
                          <a:pt x="13" y="65"/>
                        </a:cubicBezTo>
                        <a:cubicBezTo>
                          <a:pt x="15" y="65"/>
                          <a:pt x="17" y="67"/>
                          <a:pt x="17" y="70"/>
                        </a:cubicBezTo>
                        <a:cubicBezTo>
                          <a:pt x="17" y="72"/>
                          <a:pt x="15" y="74"/>
                          <a:pt x="13" y="74"/>
                        </a:cubicBezTo>
                        <a:close/>
                        <a:moveTo>
                          <a:pt x="27" y="102"/>
                        </a:moveTo>
                        <a:cubicBezTo>
                          <a:pt x="26" y="102"/>
                          <a:pt x="26" y="102"/>
                          <a:pt x="26" y="102"/>
                        </a:cubicBezTo>
                        <a:cubicBezTo>
                          <a:pt x="23" y="102"/>
                          <a:pt x="21" y="100"/>
                          <a:pt x="21" y="98"/>
                        </a:cubicBezTo>
                        <a:cubicBezTo>
                          <a:pt x="21" y="95"/>
                          <a:pt x="23" y="93"/>
                          <a:pt x="26" y="93"/>
                        </a:cubicBezTo>
                        <a:cubicBezTo>
                          <a:pt x="27" y="93"/>
                          <a:pt x="27" y="93"/>
                          <a:pt x="27" y="93"/>
                        </a:cubicBezTo>
                        <a:cubicBezTo>
                          <a:pt x="30" y="93"/>
                          <a:pt x="32" y="95"/>
                          <a:pt x="32" y="98"/>
                        </a:cubicBezTo>
                        <a:cubicBezTo>
                          <a:pt x="32" y="100"/>
                          <a:pt x="30" y="102"/>
                          <a:pt x="27" y="102"/>
                        </a:cubicBezTo>
                        <a:close/>
                        <a:moveTo>
                          <a:pt x="27" y="88"/>
                        </a:moveTo>
                        <a:cubicBezTo>
                          <a:pt x="26" y="88"/>
                          <a:pt x="26" y="88"/>
                          <a:pt x="26" y="88"/>
                        </a:cubicBezTo>
                        <a:cubicBezTo>
                          <a:pt x="23" y="88"/>
                          <a:pt x="21" y="86"/>
                          <a:pt x="21" y="84"/>
                        </a:cubicBezTo>
                        <a:cubicBezTo>
                          <a:pt x="21" y="81"/>
                          <a:pt x="23" y="79"/>
                          <a:pt x="26" y="79"/>
                        </a:cubicBezTo>
                        <a:cubicBezTo>
                          <a:pt x="27" y="79"/>
                          <a:pt x="27" y="79"/>
                          <a:pt x="27" y="79"/>
                        </a:cubicBezTo>
                        <a:cubicBezTo>
                          <a:pt x="30" y="79"/>
                          <a:pt x="32" y="81"/>
                          <a:pt x="32" y="84"/>
                        </a:cubicBezTo>
                        <a:cubicBezTo>
                          <a:pt x="32" y="86"/>
                          <a:pt x="30" y="88"/>
                          <a:pt x="27" y="88"/>
                        </a:cubicBezTo>
                        <a:close/>
                        <a:moveTo>
                          <a:pt x="27" y="74"/>
                        </a:moveTo>
                        <a:cubicBezTo>
                          <a:pt x="26" y="74"/>
                          <a:pt x="26" y="74"/>
                          <a:pt x="26" y="74"/>
                        </a:cubicBezTo>
                        <a:cubicBezTo>
                          <a:pt x="23" y="74"/>
                          <a:pt x="21" y="72"/>
                          <a:pt x="21" y="70"/>
                        </a:cubicBezTo>
                        <a:cubicBezTo>
                          <a:pt x="21" y="67"/>
                          <a:pt x="23" y="65"/>
                          <a:pt x="26" y="65"/>
                        </a:cubicBezTo>
                        <a:cubicBezTo>
                          <a:pt x="27" y="65"/>
                          <a:pt x="27" y="65"/>
                          <a:pt x="27" y="65"/>
                        </a:cubicBezTo>
                        <a:cubicBezTo>
                          <a:pt x="30" y="65"/>
                          <a:pt x="32" y="67"/>
                          <a:pt x="32" y="70"/>
                        </a:cubicBezTo>
                        <a:cubicBezTo>
                          <a:pt x="32" y="72"/>
                          <a:pt x="30" y="74"/>
                          <a:pt x="27" y="74"/>
                        </a:cubicBezTo>
                        <a:close/>
                        <a:moveTo>
                          <a:pt x="34" y="59"/>
                        </a:moveTo>
                        <a:cubicBezTo>
                          <a:pt x="19" y="59"/>
                          <a:pt x="19" y="59"/>
                          <a:pt x="19" y="59"/>
                        </a:cubicBezTo>
                        <a:cubicBezTo>
                          <a:pt x="18" y="59"/>
                          <a:pt x="17" y="58"/>
                          <a:pt x="17" y="57"/>
                        </a:cubicBezTo>
                        <a:cubicBezTo>
                          <a:pt x="17" y="56"/>
                          <a:pt x="18" y="56"/>
                          <a:pt x="19" y="56"/>
                        </a:cubicBezTo>
                        <a:cubicBezTo>
                          <a:pt x="34" y="56"/>
                          <a:pt x="34" y="56"/>
                          <a:pt x="34" y="56"/>
                        </a:cubicBezTo>
                        <a:cubicBezTo>
                          <a:pt x="35" y="56"/>
                          <a:pt x="36" y="56"/>
                          <a:pt x="36" y="57"/>
                        </a:cubicBezTo>
                        <a:cubicBezTo>
                          <a:pt x="36" y="58"/>
                          <a:pt x="35" y="59"/>
                          <a:pt x="34" y="59"/>
                        </a:cubicBezTo>
                        <a:close/>
                        <a:moveTo>
                          <a:pt x="42" y="102"/>
                        </a:moveTo>
                        <a:cubicBezTo>
                          <a:pt x="40" y="102"/>
                          <a:pt x="40" y="102"/>
                          <a:pt x="40" y="102"/>
                        </a:cubicBezTo>
                        <a:cubicBezTo>
                          <a:pt x="38" y="102"/>
                          <a:pt x="36" y="100"/>
                          <a:pt x="36" y="98"/>
                        </a:cubicBezTo>
                        <a:cubicBezTo>
                          <a:pt x="36" y="95"/>
                          <a:pt x="38" y="93"/>
                          <a:pt x="40" y="93"/>
                        </a:cubicBezTo>
                        <a:cubicBezTo>
                          <a:pt x="42" y="93"/>
                          <a:pt x="42" y="93"/>
                          <a:pt x="42" y="93"/>
                        </a:cubicBezTo>
                        <a:cubicBezTo>
                          <a:pt x="44" y="93"/>
                          <a:pt x="46" y="95"/>
                          <a:pt x="46" y="98"/>
                        </a:cubicBezTo>
                        <a:cubicBezTo>
                          <a:pt x="46" y="100"/>
                          <a:pt x="44" y="102"/>
                          <a:pt x="42" y="102"/>
                        </a:cubicBezTo>
                        <a:close/>
                        <a:moveTo>
                          <a:pt x="42" y="88"/>
                        </a:moveTo>
                        <a:cubicBezTo>
                          <a:pt x="40" y="88"/>
                          <a:pt x="40" y="88"/>
                          <a:pt x="40" y="88"/>
                        </a:cubicBezTo>
                        <a:cubicBezTo>
                          <a:pt x="38" y="88"/>
                          <a:pt x="36" y="86"/>
                          <a:pt x="36" y="84"/>
                        </a:cubicBezTo>
                        <a:cubicBezTo>
                          <a:pt x="36" y="81"/>
                          <a:pt x="38" y="79"/>
                          <a:pt x="40" y="79"/>
                        </a:cubicBezTo>
                        <a:cubicBezTo>
                          <a:pt x="42" y="79"/>
                          <a:pt x="42" y="79"/>
                          <a:pt x="42" y="79"/>
                        </a:cubicBezTo>
                        <a:cubicBezTo>
                          <a:pt x="44" y="79"/>
                          <a:pt x="46" y="81"/>
                          <a:pt x="46" y="84"/>
                        </a:cubicBezTo>
                        <a:cubicBezTo>
                          <a:pt x="46" y="86"/>
                          <a:pt x="44" y="88"/>
                          <a:pt x="42" y="88"/>
                        </a:cubicBezTo>
                        <a:close/>
                        <a:moveTo>
                          <a:pt x="42" y="74"/>
                        </a:moveTo>
                        <a:cubicBezTo>
                          <a:pt x="40" y="74"/>
                          <a:pt x="40" y="74"/>
                          <a:pt x="40" y="74"/>
                        </a:cubicBezTo>
                        <a:cubicBezTo>
                          <a:pt x="38" y="74"/>
                          <a:pt x="36" y="72"/>
                          <a:pt x="36" y="70"/>
                        </a:cubicBezTo>
                        <a:cubicBezTo>
                          <a:pt x="36" y="67"/>
                          <a:pt x="38" y="65"/>
                          <a:pt x="40" y="65"/>
                        </a:cubicBezTo>
                        <a:cubicBezTo>
                          <a:pt x="42" y="65"/>
                          <a:pt x="42" y="65"/>
                          <a:pt x="42" y="65"/>
                        </a:cubicBezTo>
                        <a:cubicBezTo>
                          <a:pt x="44" y="65"/>
                          <a:pt x="46" y="67"/>
                          <a:pt x="46" y="70"/>
                        </a:cubicBezTo>
                        <a:cubicBezTo>
                          <a:pt x="46" y="72"/>
                          <a:pt x="44" y="74"/>
                          <a:pt x="42" y="74"/>
                        </a:cubicBezTo>
                        <a:close/>
                        <a:moveTo>
                          <a:pt x="46" y="46"/>
                        </a:moveTo>
                        <a:cubicBezTo>
                          <a:pt x="46" y="49"/>
                          <a:pt x="43" y="52"/>
                          <a:pt x="40" y="52"/>
                        </a:cubicBezTo>
                        <a:cubicBezTo>
                          <a:pt x="13" y="52"/>
                          <a:pt x="13" y="52"/>
                          <a:pt x="13" y="52"/>
                        </a:cubicBezTo>
                        <a:cubicBezTo>
                          <a:pt x="9" y="52"/>
                          <a:pt x="7" y="49"/>
                          <a:pt x="7" y="46"/>
                        </a:cubicBezTo>
                        <a:cubicBezTo>
                          <a:pt x="7" y="27"/>
                          <a:pt x="7" y="27"/>
                          <a:pt x="7" y="27"/>
                        </a:cubicBezTo>
                        <a:cubicBezTo>
                          <a:pt x="7" y="24"/>
                          <a:pt x="9" y="21"/>
                          <a:pt x="13" y="21"/>
                        </a:cubicBezTo>
                        <a:cubicBezTo>
                          <a:pt x="40" y="21"/>
                          <a:pt x="40" y="21"/>
                          <a:pt x="40" y="21"/>
                        </a:cubicBezTo>
                        <a:cubicBezTo>
                          <a:pt x="43" y="21"/>
                          <a:pt x="46" y="24"/>
                          <a:pt x="46" y="27"/>
                        </a:cubicBezTo>
                        <a:lnTo>
                          <a:pt x="46" y="4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7" name="Freeform 28"/>
                  <p:cNvSpPr>
                    <a:spLocks noEditPoints="1"/>
                  </p:cNvSpPr>
                  <p:nvPr/>
                </p:nvSpPr>
                <p:spPr bwMode="auto">
                  <a:xfrm>
                    <a:off x="3367088" y="3929063"/>
                    <a:ext cx="569913" cy="423862"/>
                  </a:xfrm>
                  <a:custGeom>
                    <a:avLst/>
                    <a:gdLst>
                      <a:gd name="T0" fmla="*/ 147 w 152"/>
                      <a:gd name="T1" fmla="*/ 95 h 113"/>
                      <a:gd name="T2" fmla="*/ 131 w 152"/>
                      <a:gd name="T3" fmla="*/ 78 h 113"/>
                      <a:gd name="T4" fmla="*/ 122 w 152"/>
                      <a:gd name="T5" fmla="*/ 71 h 113"/>
                      <a:gd name="T6" fmla="*/ 130 w 152"/>
                      <a:gd name="T7" fmla="*/ 59 h 113"/>
                      <a:gd name="T8" fmla="*/ 130 w 152"/>
                      <a:gd name="T9" fmla="*/ 12 h 113"/>
                      <a:gd name="T10" fmla="*/ 118 w 152"/>
                      <a:gd name="T11" fmla="*/ 0 h 113"/>
                      <a:gd name="T12" fmla="*/ 35 w 152"/>
                      <a:gd name="T13" fmla="*/ 0 h 113"/>
                      <a:gd name="T14" fmla="*/ 22 w 152"/>
                      <a:gd name="T15" fmla="*/ 12 h 113"/>
                      <a:gd name="T16" fmla="*/ 22 w 152"/>
                      <a:gd name="T17" fmla="*/ 59 h 113"/>
                      <a:gd name="T18" fmla="*/ 30 w 152"/>
                      <a:gd name="T19" fmla="*/ 71 h 113"/>
                      <a:gd name="T20" fmla="*/ 22 w 152"/>
                      <a:gd name="T21" fmla="*/ 78 h 113"/>
                      <a:gd name="T22" fmla="*/ 5 w 152"/>
                      <a:gd name="T23" fmla="*/ 95 h 113"/>
                      <a:gd name="T24" fmla="*/ 0 w 152"/>
                      <a:gd name="T25" fmla="*/ 104 h 113"/>
                      <a:gd name="T26" fmla="*/ 13 w 152"/>
                      <a:gd name="T27" fmla="*/ 113 h 113"/>
                      <a:gd name="T28" fmla="*/ 139 w 152"/>
                      <a:gd name="T29" fmla="*/ 113 h 113"/>
                      <a:gd name="T30" fmla="*/ 152 w 152"/>
                      <a:gd name="T31" fmla="*/ 104 h 113"/>
                      <a:gd name="T32" fmla="*/ 147 w 152"/>
                      <a:gd name="T33" fmla="*/ 95 h 113"/>
                      <a:gd name="T34" fmla="*/ 61 w 152"/>
                      <a:gd name="T35" fmla="*/ 97 h 113"/>
                      <a:gd name="T36" fmla="*/ 67 w 152"/>
                      <a:gd name="T37" fmla="*/ 90 h 113"/>
                      <a:gd name="T38" fmla="*/ 85 w 152"/>
                      <a:gd name="T39" fmla="*/ 90 h 113"/>
                      <a:gd name="T40" fmla="*/ 92 w 152"/>
                      <a:gd name="T41" fmla="*/ 97 h 113"/>
                      <a:gd name="T42" fmla="*/ 61 w 152"/>
                      <a:gd name="T43" fmla="*/ 97 h 113"/>
                      <a:gd name="T44" fmla="*/ 121 w 152"/>
                      <a:gd name="T45" fmla="*/ 59 h 113"/>
                      <a:gd name="T46" fmla="*/ 118 w 152"/>
                      <a:gd name="T47" fmla="*/ 63 h 113"/>
                      <a:gd name="T48" fmla="*/ 35 w 152"/>
                      <a:gd name="T49" fmla="*/ 63 h 113"/>
                      <a:gd name="T50" fmla="*/ 31 w 152"/>
                      <a:gd name="T51" fmla="*/ 59 h 113"/>
                      <a:gd name="T52" fmla="*/ 31 w 152"/>
                      <a:gd name="T53" fmla="*/ 12 h 113"/>
                      <a:gd name="T54" fmla="*/ 35 w 152"/>
                      <a:gd name="T55" fmla="*/ 9 h 113"/>
                      <a:gd name="T56" fmla="*/ 118 w 152"/>
                      <a:gd name="T57" fmla="*/ 9 h 113"/>
                      <a:gd name="T58" fmla="*/ 121 w 152"/>
                      <a:gd name="T59" fmla="*/ 12 h 113"/>
                      <a:gd name="T60" fmla="*/ 121 w 152"/>
                      <a:gd name="T61" fmla="*/ 59 h 1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</a:cxnLst>
                    <a:rect l="0" t="0" r="r" b="b"/>
                    <a:pathLst>
                      <a:path w="152" h="113">
                        <a:moveTo>
                          <a:pt x="147" y="95"/>
                        </a:moveTo>
                        <a:cubicBezTo>
                          <a:pt x="131" y="78"/>
                          <a:pt x="131" y="78"/>
                          <a:pt x="131" y="78"/>
                        </a:cubicBezTo>
                        <a:cubicBezTo>
                          <a:pt x="131" y="78"/>
                          <a:pt x="126" y="72"/>
                          <a:pt x="122" y="71"/>
                        </a:cubicBezTo>
                        <a:cubicBezTo>
                          <a:pt x="127" y="69"/>
                          <a:pt x="130" y="65"/>
                          <a:pt x="130" y="59"/>
                        </a:cubicBezTo>
                        <a:cubicBezTo>
                          <a:pt x="130" y="12"/>
                          <a:pt x="130" y="12"/>
                          <a:pt x="130" y="12"/>
                        </a:cubicBezTo>
                        <a:cubicBezTo>
                          <a:pt x="130" y="5"/>
                          <a:pt x="125" y="0"/>
                          <a:pt x="118" y="0"/>
                        </a:cubicBezTo>
                        <a:cubicBezTo>
                          <a:pt x="35" y="0"/>
                          <a:pt x="35" y="0"/>
                          <a:pt x="35" y="0"/>
                        </a:cubicBezTo>
                        <a:cubicBezTo>
                          <a:pt x="28" y="0"/>
                          <a:pt x="22" y="5"/>
                          <a:pt x="22" y="12"/>
                        </a:cubicBezTo>
                        <a:cubicBezTo>
                          <a:pt x="22" y="59"/>
                          <a:pt x="22" y="59"/>
                          <a:pt x="22" y="59"/>
                        </a:cubicBezTo>
                        <a:cubicBezTo>
                          <a:pt x="22" y="65"/>
                          <a:pt x="25" y="69"/>
                          <a:pt x="30" y="71"/>
                        </a:cubicBezTo>
                        <a:cubicBezTo>
                          <a:pt x="27" y="72"/>
                          <a:pt x="22" y="78"/>
                          <a:pt x="22" y="78"/>
                        </a:cubicBezTo>
                        <a:cubicBezTo>
                          <a:pt x="5" y="95"/>
                          <a:pt x="5" y="95"/>
                          <a:pt x="5" y="95"/>
                        </a:cubicBezTo>
                        <a:cubicBezTo>
                          <a:pt x="5" y="95"/>
                          <a:pt x="0" y="100"/>
                          <a:pt x="0" y="104"/>
                        </a:cubicBezTo>
                        <a:cubicBezTo>
                          <a:pt x="0" y="110"/>
                          <a:pt x="6" y="113"/>
                          <a:pt x="13" y="113"/>
                        </a:cubicBezTo>
                        <a:cubicBezTo>
                          <a:pt x="139" y="113"/>
                          <a:pt x="139" y="113"/>
                          <a:pt x="139" y="113"/>
                        </a:cubicBezTo>
                        <a:cubicBezTo>
                          <a:pt x="146" y="113"/>
                          <a:pt x="152" y="110"/>
                          <a:pt x="152" y="104"/>
                        </a:cubicBezTo>
                        <a:cubicBezTo>
                          <a:pt x="152" y="100"/>
                          <a:pt x="147" y="95"/>
                          <a:pt x="147" y="95"/>
                        </a:cubicBezTo>
                        <a:close/>
                        <a:moveTo>
                          <a:pt x="61" y="97"/>
                        </a:moveTo>
                        <a:cubicBezTo>
                          <a:pt x="67" y="90"/>
                          <a:pt x="67" y="90"/>
                          <a:pt x="67" y="90"/>
                        </a:cubicBezTo>
                        <a:cubicBezTo>
                          <a:pt x="85" y="90"/>
                          <a:pt x="85" y="90"/>
                          <a:pt x="85" y="90"/>
                        </a:cubicBezTo>
                        <a:cubicBezTo>
                          <a:pt x="92" y="97"/>
                          <a:pt x="92" y="97"/>
                          <a:pt x="92" y="97"/>
                        </a:cubicBezTo>
                        <a:lnTo>
                          <a:pt x="61" y="97"/>
                        </a:lnTo>
                        <a:close/>
                        <a:moveTo>
                          <a:pt x="121" y="59"/>
                        </a:moveTo>
                        <a:cubicBezTo>
                          <a:pt x="121" y="61"/>
                          <a:pt x="120" y="63"/>
                          <a:pt x="118" y="63"/>
                        </a:cubicBezTo>
                        <a:cubicBezTo>
                          <a:pt x="35" y="63"/>
                          <a:pt x="35" y="63"/>
                          <a:pt x="35" y="63"/>
                        </a:cubicBezTo>
                        <a:cubicBezTo>
                          <a:pt x="32" y="63"/>
                          <a:pt x="31" y="61"/>
                          <a:pt x="31" y="59"/>
                        </a:cubicBezTo>
                        <a:cubicBezTo>
                          <a:pt x="31" y="12"/>
                          <a:pt x="31" y="12"/>
                          <a:pt x="31" y="12"/>
                        </a:cubicBezTo>
                        <a:cubicBezTo>
                          <a:pt x="31" y="10"/>
                          <a:pt x="32" y="9"/>
                          <a:pt x="35" y="9"/>
                        </a:cubicBezTo>
                        <a:cubicBezTo>
                          <a:pt x="118" y="9"/>
                          <a:pt x="118" y="9"/>
                          <a:pt x="118" y="9"/>
                        </a:cubicBezTo>
                        <a:cubicBezTo>
                          <a:pt x="120" y="9"/>
                          <a:pt x="121" y="10"/>
                          <a:pt x="121" y="12"/>
                        </a:cubicBezTo>
                        <a:lnTo>
                          <a:pt x="121" y="5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20" name="Group 19"/>
              <p:cNvGrpSpPr>
                <a:grpSpLocks noChangeAspect="1"/>
              </p:cNvGrpSpPr>
              <p:nvPr/>
            </p:nvGrpSpPr>
            <p:grpSpPr>
              <a:xfrm>
                <a:off x="6537710" y="1963928"/>
                <a:ext cx="460996" cy="417530"/>
                <a:chOff x="2644775" y="3363913"/>
                <a:chExt cx="1195388" cy="1082676"/>
              </a:xfrm>
              <a:solidFill>
                <a:schemeClr val="tx1"/>
              </a:solidFill>
            </p:grpSpPr>
            <p:sp>
              <p:nvSpPr>
                <p:cNvPr id="21" name="Freeform 6"/>
                <p:cNvSpPr>
                  <a:spLocks noEditPoints="1"/>
                </p:cNvSpPr>
                <p:nvPr/>
              </p:nvSpPr>
              <p:spPr bwMode="auto">
                <a:xfrm>
                  <a:off x="2644775" y="3363913"/>
                  <a:ext cx="1195388" cy="914400"/>
                </a:xfrm>
                <a:custGeom>
                  <a:avLst/>
                  <a:gdLst>
                    <a:gd name="T0" fmla="*/ 126 w 319"/>
                    <a:gd name="T1" fmla="*/ 114 h 244"/>
                    <a:gd name="T2" fmla="*/ 107 w 319"/>
                    <a:gd name="T3" fmla="*/ 147 h 244"/>
                    <a:gd name="T4" fmla="*/ 126 w 319"/>
                    <a:gd name="T5" fmla="*/ 181 h 244"/>
                    <a:gd name="T6" fmla="*/ 145 w 319"/>
                    <a:gd name="T7" fmla="*/ 147 h 244"/>
                    <a:gd name="T8" fmla="*/ 126 w 319"/>
                    <a:gd name="T9" fmla="*/ 114 h 244"/>
                    <a:gd name="T10" fmla="*/ 264 w 319"/>
                    <a:gd name="T11" fmla="*/ 87 h 244"/>
                    <a:gd name="T12" fmla="*/ 203 w 319"/>
                    <a:gd name="T13" fmla="*/ 33 h 244"/>
                    <a:gd name="T14" fmla="*/ 190 w 319"/>
                    <a:gd name="T15" fmla="*/ 34 h 244"/>
                    <a:gd name="T16" fmla="*/ 127 w 319"/>
                    <a:gd name="T17" fmla="*/ 0 h 244"/>
                    <a:gd name="T18" fmla="*/ 52 w 319"/>
                    <a:gd name="T19" fmla="*/ 74 h 244"/>
                    <a:gd name="T20" fmla="*/ 53 w 319"/>
                    <a:gd name="T21" fmla="*/ 87 h 244"/>
                    <a:gd name="T22" fmla="*/ 0 w 319"/>
                    <a:gd name="T23" fmla="*/ 147 h 244"/>
                    <a:gd name="T24" fmla="*/ 57 w 319"/>
                    <a:gd name="T25" fmla="*/ 208 h 244"/>
                    <a:gd name="T26" fmla="*/ 66 w 319"/>
                    <a:gd name="T27" fmla="*/ 208 h 244"/>
                    <a:gd name="T28" fmla="*/ 132 w 319"/>
                    <a:gd name="T29" fmla="*/ 208 h 244"/>
                    <a:gd name="T30" fmla="*/ 182 w 319"/>
                    <a:gd name="T31" fmla="*/ 244 h 244"/>
                    <a:gd name="T32" fmla="*/ 232 w 319"/>
                    <a:gd name="T33" fmla="*/ 208 h 244"/>
                    <a:gd name="T34" fmla="*/ 257 w 319"/>
                    <a:gd name="T35" fmla="*/ 208 h 244"/>
                    <a:gd name="T36" fmla="*/ 319 w 319"/>
                    <a:gd name="T37" fmla="*/ 147 h 244"/>
                    <a:gd name="T38" fmla="*/ 264 w 319"/>
                    <a:gd name="T39" fmla="*/ 87 h 244"/>
                    <a:gd name="T40" fmla="*/ 61 w 319"/>
                    <a:gd name="T41" fmla="*/ 180 h 244"/>
                    <a:gd name="T42" fmla="*/ 78 w 319"/>
                    <a:gd name="T43" fmla="*/ 175 h 244"/>
                    <a:gd name="T44" fmla="*/ 79 w 319"/>
                    <a:gd name="T45" fmla="*/ 190 h 244"/>
                    <a:gd name="T46" fmla="*/ 60 w 319"/>
                    <a:gd name="T47" fmla="*/ 193 h 244"/>
                    <a:gd name="T48" fmla="*/ 18 w 319"/>
                    <a:gd name="T49" fmla="*/ 147 h 244"/>
                    <a:gd name="T50" fmla="*/ 59 w 319"/>
                    <a:gd name="T51" fmla="*/ 101 h 244"/>
                    <a:gd name="T52" fmla="*/ 79 w 319"/>
                    <a:gd name="T53" fmla="*/ 105 h 244"/>
                    <a:gd name="T54" fmla="*/ 78 w 319"/>
                    <a:gd name="T55" fmla="*/ 119 h 244"/>
                    <a:gd name="T56" fmla="*/ 61 w 319"/>
                    <a:gd name="T57" fmla="*/ 115 h 244"/>
                    <a:gd name="T58" fmla="*/ 36 w 319"/>
                    <a:gd name="T59" fmla="*/ 147 h 244"/>
                    <a:gd name="T60" fmla="*/ 61 w 319"/>
                    <a:gd name="T61" fmla="*/ 180 h 244"/>
                    <a:gd name="T62" fmla="*/ 126 w 319"/>
                    <a:gd name="T63" fmla="*/ 193 h 244"/>
                    <a:gd name="T64" fmla="*/ 90 w 319"/>
                    <a:gd name="T65" fmla="*/ 147 h 244"/>
                    <a:gd name="T66" fmla="*/ 126 w 319"/>
                    <a:gd name="T67" fmla="*/ 101 h 244"/>
                    <a:gd name="T68" fmla="*/ 162 w 319"/>
                    <a:gd name="T69" fmla="*/ 147 h 244"/>
                    <a:gd name="T70" fmla="*/ 126 w 319"/>
                    <a:gd name="T71" fmla="*/ 193 h 244"/>
                    <a:gd name="T72" fmla="*/ 193 w 319"/>
                    <a:gd name="T73" fmla="*/ 217 h 244"/>
                    <a:gd name="T74" fmla="*/ 164 w 319"/>
                    <a:gd name="T75" fmla="*/ 217 h 244"/>
                    <a:gd name="T76" fmla="*/ 164 w 319"/>
                    <a:gd name="T77" fmla="*/ 209 h 244"/>
                    <a:gd name="T78" fmla="*/ 168 w 319"/>
                    <a:gd name="T79" fmla="*/ 205 h 244"/>
                    <a:gd name="T80" fmla="*/ 183 w 319"/>
                    <a:gd name="T81" fmla="*/ 181 h 244"/>
                    <a:gd name="T82" fmla="*/ 176 w 319"/>
                    <a:gd name="T83" fmla="*/ 173 h 244"/>
                    <a:gd name="T84" fmla="*/ 166 w 319"/>
                    <a:gd name="T85" fmla="*/ 177 h 244"/>
                    <a:gd name="T86" fmla="*/ 165 w 319"/>
                    <a:gd name="T87" fmla="*/ 169 h 244"/>
                    <a:gd name="T88" fmla="*/ 178 w 319"/>
                    <a:gd name="T89" fmla="*/ 166 h 244"/>
                    <a:gd name="T90" fmla="*/ 192 w 319"/>
                    <a:gd name="T91" fmla="*/ 179 h 244"/>
                    <a:gd name="T92" fmla="*/ 176 w 319"/>
                    <a:gd name="T93" fmla="*/ 208 h 244"/>
                    <a:gd name="T94" fmla="*/ 174 w 319"/>
                    <a:gd name="T95" fmla="*/ 210 h 244"/>
                    <a:gd name="T96" fmla="*/ 193 w 319"/>
                    <a:gd name="T97" fmla="*/ 210 h 244"/>
                    <a:gd name="T98" fmla="*/ 193 w 319"/>
                    <a:gd name="T99" fmla="*/ 217 h 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319" h="244">
                      <a:moveTo>
                        <a:pt x="126" y="114"/>
                      </a:moveTo>
                      <a:cubicBezTo>
                        <a:pt x="115" y="114"/>
                        <a:pt x="107" y="122"/>
                        <a:pt x="107" y="147"/>
                      </a:cubicBezTo>
                      <a:cubicBezTo>
                        <a:pt x="107" y="172"/>
                        <a:pt x="115" y="181"/>
                        <a:pt x="126" y="181"/>
                      </a:cubicBezTo>
                      <a:cubicBezTo>
                        <a:pt x="136" y="181"/>
                        <a:pt x="145" y="172"/>
                        <a:pt x="145" y="147"/>
                      </a:cubicBezTo>
                      <a:cubicBezTo>
                        <a:pt x="145" y="122"/>
                        <a:pt x="136" y="114"/>
                        <a:pt x="126" y="114"/>
                      </a:cubicBezTo>
                      <a:close/>
                      <a:moveTo>
                        <a:pt x="264" y="87"/>
                      </a:moveTo>
                      <a:cubicBezTo>
                        <a:pt x="261" y="56"/>
                        <a:pt x="234" y="33"/>
                        <a:pt x="203" y="33"/>
                      </a:cubicBezTo>
                      <a:cubicBezTo>
                        <a:pt x="198" y="33"/>
                        <a:pt x="194" y="33"/>
                        <a:pt x="190" y="34"/>
                      </a:cubicBezTo>
                      <a:cubicBezTo>
                        <a:pt x="176" y="13"/>
                        <a:pt x="153" y="0"/>
                        <a:pt x="127" y="0"/>
                      </a:cubicBezTo>
                      <a:cubicBezTo>
                        <a:pt x="85" y="0"/>
                        <a:pt x="52" y="33"/>
                        <a:pt x="52" y="74"/>
                      </a:cubicBezTo>
                      <a:cubicBezTo>
                        <a:pt x="52" y="78"/>
                        <a:pt x="52" y="83"/>
                        <a:pt x="53" y="87"/>
                      </a:cubicBezTo>
                      <a:cubicBezTo>
                        <a:pt x="23" y="91"/>
                        <a:pt x="0" y="117"/>
                        <a:pt x="0" y="147"/>
                      </a:cubicBezTo>
                      <a:cubicBezTo>
                        <a:pt x="0" y="180"/>
                        <a:pt x="25" y="206"/>
                        <a:pt x="57" y="208"/>
                      </a:cubicBezTo>
                      <a:cubicBezTo>
                        <a:pt x="66" y="208"/>
                        <a:pt x="66" y="208"/>
                        <a:pt x="66" y="208"/>
                      </a:cubicBezTo>
                      <a:cubicBezTo>
                        <a:pt x="66" y="208"/>
                        <a:pt x="66" y="208"/>
                        <a:pt x="132" y="208"/>
                      </a:cubicBezTo>
                      <a:cubicBezTo>
                        <a:pt x="139" y="229"/>
                        <a:pt x="159" y="244"/>
                        <a:pt x="182" y="244"/>
                      </a:cubicBezTo>
                      <a:cubicBezTo>
                        <a:pt x="205" y="244"/>
                        <a:pt x="225" y="229"/>
                        <a:pt x="232" y="208"/>
                      </a:cubicBezTo>
                      <a:cubicBezTo>
                        <a:pt x="257" y="208"/>
                        <a:pt x="257" y="208"/>
                        <a:pt x="257" y="208"/>
                      </a:cubicBezTo>
                      <a:cubicBezTo>
                        <a:pt x="291" y="208"/>
                        <a:pt x="319" y="181"/>
                        <a:pt x="319" y="147"/>
                      </a:cubicBezTo>
                      <a:cubicBezTo>
                        <a:pt x="319" y="116"/>
                        <a:pt x="295" y="90"/>
                        <a:pt x="264" y="87"/>
                      </a:cubicBezTo>
                      <a:close/>
                      <a:moveTo>
                        <a:pt x="61" y="180"/>
                      </a:moveTo>
                      <a:cubicBezTo>
                        <a:pt x="69" y="180"/>
                        <a:pt x="74" y="178"/>
                        <a:pt x="78" y="175"/>
                      </a:cubicBezTo>
                      <a:cubicBezTo>
                        <a:pt x="79" y="190"/>
                        <a:pt x="79" y="190"/>
                        <a:pt x="79" y="190"/>
                      </a:cubicBezTo>
                      <a:cubicBezTo>
                        <a:pt x="76" y="192"/>
                        <a:pt x="68" y="193"/>
                        <a:pt x="60" y="193"/>
                      </a:cubicBezTo>
                      <a:cubicBezTo>
                        <a:pt x="32" y="193"/>
                        <a:pt x="18" y="173"/>
                        <a:pt x="18" y="147"/>
                      </a:cubicBezTo>
                      <a:cubicBezTo>
                        <a:pt x="18" y="121"/>
                        <a:pt x="32" y="101"/>
                        <a:pt x="59" y="101"/>
                      </a:cubicBezTo>
                      <a:cubicBezTo>
                        <a:pt x="68" y="101"/>
                        <a:pt x="76" y="103"/>
                        <a:pt x="79" y="105"/>
                      </a:cubicBezTo>
                      <a:cubicBezTo>
                        <a:pt x="78" y="119"/>
                        <a:pt x="78" y="119"/>
                        <a:pt x="78" y="119"/>
                      </a:cubicBezTo>
                      <a:cubicBezTo>
                        <a:pt x="75" y="118"/>
                        <a:pt x="70" y="115"/>
                        <a:pt x="61" y="115"/>
                      </a:cubicBezTo>
                      <a:cubicBezTo>
                        <a:pt x="48" y="115"/>
                        <a:pt x="36" y="124"/>
                        <a:pt x="36" y="147"/>
                      </a:cubicBezTo>
                      <a:cubicBezTo>
                        <a:pt x="36" y="171"/>
                        <a:pt x="48" y="180"/>
                        <a:pt x="61" y="180"/>
                      </a:cubicBezTo>
                      <a:close/>
                      <a:moveTo>
                        <a:pt x="126" y="193"/>
                      </a:moveTo>
                      <a:cubicBezTo>
                        <a:pt x="107" y="193"/>
                        <a:pt x="90" y="180"/>
                        <a:pt x="90" y="147"/>
                      </a:cubicBezTo>
                      <a:cubicBezTo>
                        <a:pt x="90" y="115"/>
                        <a:pt x="107" y="101"/>
                        <a:pt x="126" y="101"/>
                      </a:cubicBezTo>
                      <a:cubicBezTo>
                        <a:pt x="144" y="101"/>
                        <a:pt x="162" y="115"/>
                        <a:pt x="162" y="147"/>
                      </a:cubicBezTo>
                      <a:cubicBezTo>
                        <a:pt x="162" y="180"/>
                        <a:pt x="144" y="193"/>
                        <a:pt x="126" y="193"/>
                      </a:cubicBezTo>
                      <a:close/>
                      <a:moveTo>
                        <a:pt x="193" y="217"/>
                      </a:moveTo>
                      <a:cubicBezTo>
                        <a:pt x="164" y="217"/>
                        <a:pt x="164" y="217"/>
                        <a:pt x="164" y="217"/>
                      </a:cubicBezTo>
                      <a:cubicBezTo>
                        <a:pt x="164" y="209"/>
                        <a:pt x="164" y="209"/>
                        <a:pt x="164" y="209"/>
                      </a:cubicBezTo>
                      <a:cubicBezTo>
                        <a:pt x="168" y="205"/>
                        <a:pt x="168" y="205"/>
                        <a:pt x="168" y="205"/>
                      </a:cubicBezTo>
                      <a:cubicBezTo>
                        <a:pt x="175" y="197"/>
                        <a:pt x="183" y="188"/>
                        <a:pt x="183" y="181"/>
                      </a:cubicBezTo>
                      <a:cubicBezTo>
                        <a:pt x="183" y="176"/>
                        <a:pt x="180" y="173"/>
                        <a:pt x="176" y="173"/>
                      </a:cubicBezTo>
                      <a:cubicBezTo>
                        <a:pt x="171" y="173"/>
                        <a:pt x="168" y="176"/>
                        <a:pt x="166" y="177"/>
                      </a:cubicBezTo>
                      <a:cubicBezTo>
                        <a:pt x="165" y="169"/>
                        <a:pt x="165" y="169"/>
                        <a:pt x="165" y="169"/>
                      </a:cubicBezTo>
                      <a:cubicBezTo>
                        <a:pt x="168" y="167"/>
                        <a:pt x="171" y="166"/>
                        <a:pt x="178" y="166"/>
                      </a:cubicBezTo>
                      <a:cubicBezTo>
                        <a:pt x="188" y="166"/>
                        <a:pt x="192" y="172"/>
                        <a:pt x="192" y="179"/>
                      </a:cubicBezTo>
                      <a:cubicBezTo>
                        <a:pt x="192" y="188"/>
                        <a:pt x="185" y="198"/>
                        <a:pt x="176" y="208"/>
                      </a:cubicBezTo>
                      <a:cubicBezTo>
                        <a:pt x="174" y="210"/>
                        <a:pt x="174" y="210"/>
                        <a:pt x="174" y="210"/>
                      </a:cubicBezTo>
                      <a:cubicBezTo>
                        <a:pt x="193" y="210"/>
                        <a:pt x="193" y="210"/>
                        <a:pt x="193" y="210"/>
                      </a:cubicBezTo>
                      <a:lnTo>
                        <a:pt x="193" y="2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" name="Freeform 7"/>
                <p:cNvSpPr>
                  <a:spLocks noEditPoints="1"/>
                </p:cNvSpPr>
                <p:nvPr/>
              </p:nvSpPr>
              <p:spPr bwMode="auto">
                <a:xfrm>
                  <a:off x="3457575" y="4191001"/>
                  <a:ext cx="203200" cy="255588"/>
                </a:xfrm>
                <a:custGeom>
                  <a:avLst/>
                  <a:gdLst>
                    <a:gd name="T0" fmla="*/ 23 w 54"/>
                    <a:gd name="T1" fmla="*/ 6 h 68"/>
                    <a:gd name="T2" fmla="*/ 9 w 54"/>
                    <a:gd name="T3" fmla="*/ 60 h 68"/>
                    <a:gd name="T4" fmla="*/ 27 w 54"/>
                    <a:gd name="T5" fmla="*/ 68 h 68"/>
                    <a:gd name="T6" fmla="*/ 45 w 54"/>
                    <a:gd name="T7" fmla="*/ 60 h 68"/>
                    <a:gd name="T8" fmla="*/ 31 w 54"/>
                    <a:gd name="T9" fmla="*/ 6 h 68"/>
                    <a:gd name="T10" fmla="*/ 27 w 54"/>
                    <a:gd name="T11" fmla="*/ 0 h 68"/>
                    <a:gd name="T12" fmla="*/ 23 w 54"/>
                    <a:gd name="T13" fmla="*/ 6 h 68"/>
                    <a:gd name="T14" fmla="*/ 18 w 54"/>
                    <a:gd name="T15" fmla="*/ 55 h 68"/>
                    <a:gd name="T16" fmla="*/ 16 w 54"/>
                    <a:gd name="T17" fmla="*/ 49 h 68"/>
                    <a:gd name="T18" fmla="*/ 27 w 54"/>
                    <a:gd name="T19" fmla="*/ 18 h 68"/>
                    <a:gd name="T20" fmla="*/ 38 w 54"/>
                    <a:gd name="T21" fmla="*/ 49 h 68"/>
                    <a:gd name="T22" fmla="*/ 36 w 54"/>
                    <a:gd name="T23" fmla="*/ 55 h 68"/>
                    <a:gd name="T24" fmla="*/ 27 w 54"/>
                    <a:gd name="T25" fmla="*/ 59 h 68"/>
                    <a:gd name="T26" fmla="*/ 18 w 54"/>
                    <a:gd name="T27" fmla="*/ 55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4" h="68">
                      <a:moveTo>
                        <a:pt x="23" y="6"/>
                      </a:moveTo>
                      <a:cubicBezTo>
                        <a:pt x="21" y="10"/>
                        <a:pt x="0" y="43"/>
                        <a:pt x="9" y="60"/>
                      </a:cubicBezTo>
                      <a:cubicBezTo>
                        <a:pt x="11" y="64"/>
                        <a:pt x="16" y="68"/>
                        <a:pt x="27" y="68"/>
                      </a:cubicBezTo>
                      <a:cubicBezTo>
                        <a:pt x="37" y="68"/>
                        <a:pt x="42" y="64"/>
                        <a:pt x="45" y="60"/>
                      </a:cubicBezTo>
                      <a:cubicBezTo>
                        <a:pt x="54" y="43"/>
                        <a:pt x="33" y="10"/>
                        <a:pt x="31" y="6"/>
                      </a:cubicBezTo>
                      <a:cubicBezTo>
                        <a:pt x="27" y="0"/>
                        <a:pt x="27" y="0"/>
                        <a:pt x="27" y="0"/>
                      </a:cubicBezTo>
                      <a:lnTo>
                        <a:pt x="23" y="6"/>
                      </a:lnTo>
                      <a:close/>
                      <a:moveTo>
                        <a:pt x="18" y="55"/>
                      </a:moveTo>
                      <a:cubicBezTo>
                        <a:pt x="17" y="54"/>
                        <a:pt x="16" y="52"/>
                        <a:pt x="16" y="49"/>
                      </a:cubicBezTo>
                      <a:cubicBezTo>
                        <a:pt x="16" y="41"/>
                        <a:pt x="22" y="28"/>
                        <a:pt x="27" y="18"/>
                      </a:cubicBezTo>
                      <a:cubicBezTo>
                        <a:pt x="32" y="28"/>
                        <a:pt x="38" y="41"/>
                        <a:pt x="38" y="49"/>
                      </a:cubicBezTo>
                      <a:cubicBezTo>
                        <a:pt x="38" y="52"/>
                        <a:pt x="37" y="54"/>
                        <a:pt x="36" y="55"/>
                      </a:cubicBezTo>
                      <a:cubicBezTo>
                        <a:pt x="36" y="56"/>
                        <a:pt x="34" y="59"/>
                        <a:pt x="27" y="59"/>
                      </a:cubicBezTo>
                      <a:cubicBezTo>
                        <a:pt x="20" y="59"/>
                        <a:pt x="18" y="56"/>
                        <a:pt x="18" y="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28" name="Rectangle 27"/>
          <p:cNvSpPr/>
          <p:nvPr/>
        </p:nvSpPr>
        <p:spPr>
          <a:xfrm>
            <a:off x="220526" y="1244484"/>
            <a:ext cx="861835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smtClean="0">
                <a:latin typeface="Frutiger" panose="020B0500000000000000" pitchFamily="34" charset="0"/>
              </a:rPr>
              <a:t>72% of NHS carbon footprint comes from the procurement of goods and services</a:t>
            </a:r>
          </a:p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dirty="0" smtClean="0">
              <a:latin typeface="Frutiger" panose="020B0500000000000000" pitchFamily="34" charset="0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6373050" y="2283516"/>
            <a:ext cx="2525560" cy="1880123"/>
            <a:chOff x="5721184" y="4159152"/>
            <a:chExt cx="2525560" cy="1880123"/>
          </a:xfrm>
        </p:grpSpPr>
        <p:sp>
          <p:nvSpPr>
            <p:cNvPr id="30" name="Cloud Callout 29"/>
            <p:cNvSpPr/>
            <p:nvPr/>
          </p:nvSpPr>
          <p:spPr bwMode="auto">
            <a:xfrm>
              <a:off x="5942488" y="4159152"/>
              <a:ext cx="2304256" cy="1880123"/>
            </a:xfrm>
            <a:prstGeom prst="cloudCallout">
              <a:avLst>
                <a:gd name="adj1" fmla="val -88946"/>
                <a:gd name="adj2" fmla="val -22430"/>
              </a:avLst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6369184" y="4475459"/>
              <a:ext cx="1450864" cy="1092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300" b="1" dirty="0" smtClean="0">
                  <a:latin typeface="Frutiger" panose="020B0500000000000000" pitchFamily="34" charset="0"/>
                </a:rPr>
                <a:t>18% of </a:t>
              </a:r>
              <a:r>
                <a:rPr lang="en-GB" sz="1300" b="1" dirty="0" err="1" smtClean="0">
                  <a:latin typeface="Frutiger" panose="020B0500000000000000" pitchFamily="34" charset="0"/>
                </a:rPr>
                <a:t>NOx</a:t>
              </a:r>
              <a:r>
                <a:rPr lang="en-GB" sz="1300" b="1" dirty="0" smtClean="0">
                  <a:latin typeface="Frutiger" panose="020B0500000000000000" pitchFamily="34" charset="0"/>
                </a:rPr>
                <a:t> at a sample trust associated with vehicles making deliveries</a:t>
              </a:r>
              <a:endParaRPr lang="en-GB" sz="1300" b="1" dirty="0">
                <a:latin typeface="Frutiger" panose="020B0500000000000000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5721184" y="5244066"/>
              <a:ext cx="648000" cy="648000"/>
              <a:chOff x="1699115" y="3779464"/>
              <a:chExt cx="648000" cy="648000"/>
            </a:xfrm>
          </p:grpSpPr>
          <p:sp>
            <p:nvSpPr>
              <p:cNvPr id="37" name="Oval 36"/>
              <p:cNvSpPr>
                <a:spLocks/>
              </p:cNvSpPr>
              <p:nvPr/>
            </p:nvSpPr>
            <p:spPr bwMode="auto">
              <a:xfrm>
                <a:off x="1699115" y="3779464"/>
                <a:ext cx="648000" cy="648000"/>
              </a:xfrm>
              <a:prstGeom prst="ellipse">
                <a:avLst/>
              </a:prstGeom>
              <a:solidFill>
                <a:schemeClr val="bg1"/>
              </a:solidFill>
              <a:ln w="317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grpSp>
            <p:nvGrpSpPr>
              <p:cNvPr id="38" name="Group 37"/>
              <p:cNvGrpSpPr>
                <a:grpSpLocks noChangeAspect="1"/>
              </p:cNvGrpSpPr>
              <p:nvPr/>
            </p:nvGrpSpPr>
            <p:grpSpPr>
              <a:xfrm>
                <a:off x="1836217" y="4104352"/>
                <a:ext cx="350045" cy="158948"/>
                <a:chOff x="3367088" y="3929063"/>
                <a:chExt cx="933451" cy="423862"/>
              </a:xfrm>
              <a:solidFill>
                <a:schemeClr val="bg1"/>
              </a:solidFill>
            </p:grpSpPr>
            <p:sp>
              <p:nvSpPr>
                <p:cNvPr id="40" name="Freeform 27"/>
                <p:cNvSpPr>
                  <a:spLocks noEditPoints="1"/>
                </p:cNvSpPr>
                <p:nvPr/>
              </p:nvSpPr>
              <p:spPr bwMode="auto">
                <a:xfrm>
                  <a:off x="4102101" y="3935413"/>
                  <a:ext cx="198438" cy="417512"/>
                </a:xfrm>
                <a:custGeom>
                  <a:avLst/>
                  <a:gdLst>
                    <a:gd name="T0" fmla="*/ 46 w 53"/>
                    <a:gd name="T1" fmla="*/ 6 h 111"/>
                    <a:gd name="T2" fmla="*/ 35 w 53"/>
                    <a:gd name="T3" fmla="*/ 0 h 111"/>
                    <a:gd name="T4" fmla="*/ 29 w 53"/>
                    <a:gd name="T5" fmla="*/ 10 h 111"/>
                    <a:gd name="T6" fmla="*/ 0 w 53"/>
                    <a:gd name="T7" fmla="*/ 17 h 111"/>
                    <a:gd name="T8" fmla="*/ 8 w 53"/>
                    <a:gd name="T9" fmla="*/ 111 h 111"/>
                    <a:gd name="T10" fmla="*/ 53 w 53"/>
                    <a:gd name="T11" fmla="*/ 103 h 111"/>
                    <a:gd name="T12" fmla="*/ 46 w 53"/>
                    <a:gd name="T13" fmla="*/ 10 h 111"/>
                    <a:gd name="T14" fmla="*/ 11 w 53"/>
                    <a:gd name="T15" fmla="*/ 102 h 111"/>
                    <a:gd name="T16" fmla="*/ 11 w 53"/>
                    <a:gd name="T17" fmla="*/ 93 h 111"/>
                    <a:gd name="T18" fmla="*/ 17 w 53"/>
                    <a:gd name="T19" fmla="*/ 98 h 111"/>
                    <a:gd name="T20" fmla="*/ 13 w 53"/>
                    <a:gd name="T21" fmla="*/ 88 h 111"/>
                    <a:gd name="T22" fmla="*/ 7 w 53"/>
                    <a:gd name="T23" fmla="*/ 84 h 111"/>
                    <a:gd name="T24" fmla="*/ 13 w 53"/>
                    <a:gd name="T25" fmla="*/ 79 h 111"/>
                    <a:gd name="T26" fmla="*/ 13 w 53"/>
                    <a:gd name="T27" fmla="*/ 88 h 111"/>
                    <a:gd name="T28" fmla="*/ 11 w 53"/>
                    <a:gd name="T29" fmla="*/ 74 h 111"/>
                    <a:gd name="T30" fmla="*/ 11 w 53"/>
                    <a:gd name="T31" fmla="*/ 65 h 111"/>
                    <a:gd name="T32" fmla="*/ 17 w 53"/>
                    <a:gd name="T33" fmla="*/ 70 h 111"/>
                    <a:gd name="T34" fmla="*/ 27 w 53"/>
                    <a:gd name="T35" fmla="*/ 102 h 111"/>
                    <a:gd name="T36" fmla="*/ 21 w 53"/>
                    <a:gd name="T37" fmla="*/ 98 h 111"/>
                    <a:gd name="T38" fmla="*/ 27 w 53"/>
                    <a:gd name="T39" fmla="*/ 93 h 111"/>
                    <a:gd name="T40" fmla="*/ 27 w 53"/>
                    <a:gd name="T41" fmla="*/ 102 h 111"/>
                    <a:gd name="T42" fmla="*/ 26 w 53"/>
                    <a:gd name="T43" fmla="*/ 88 h 111"/>
                    <a:gd name="T44" fmla="*/ 26 w 53"/>
                    <a:gd name="T45" fmla="*/ 79 h 111"/>
                    <a:gd name="T46" fmla="*/ 32 w 53"/>
                    <a:gd name="T47" fmla="*/ 84 h 111"/>
                    <a:gd name="T48" fmla="*/ 27 w 53"/>
                    <a:gd name="T49" fmla="*/ 74 h 111"/>
                    <a:gd name="T50" fmla="*/ 21 w 53"/>
                    <a:gd name="T51" fmla="*/ 70 h 111"/>
                    <a:gd name="T52" fmla="*/ 27 w 53"/>
                    <a:gd name="T53" fmla="*/ 65 h 111"/>
                    <a:gd name="T54" fmla="*/ 27 w 53"/>
                    <a:gd name="T55" fmla="*/ 74 h 111"/>
                    <a:gd name="T56" fmla="*/ 19 w 53"/>
                    <a:gd name="T57" fmla="*/ 59 h 111"/>
                    <a:gd name="T58" fmla="*/ 19 w 53"/>
                    <a:gd name="T59" fmla="*/ 56 h 111"/>
                    <a:gd name="T60" fmla="*/ 36 w 53"/>
                    <a:gd name="T61" fmla="*/ 57 h 111"/>
                    <a:gd name="T62" fmla="*/ 42 w 53"/>
                    <a:gd name="T63" fmla="*/ 102 h 111"/>
                    <a:gd name="T64" fmla="*/ 36 w 53"/>
                    <a:gd name="T65" fmla="*/ 98 h 111"/>
                    <a:gd name="T66" fmla="*/ 42 w 53"/>
                    <a:gd name="T67" fmla="*/ 93 h 111"/>
                    <a:gd name="T68" fmla="*/ 42 w 53"/>
                    <a:gd name="T69" fmla="*/ 102 h 111"/>
                    <a:gd name="T70" fmla="*/ 40 w 53"/>
                    <a:gd name="T71" fmla="*/ 88 h 111"/>
                    <a:gd name="T72" fmla="*/ 40 w 53"/>
                    <a:gd name="T73" fmla="*/ 79 h 111"/>
                    <a:gd name="T74" fmla="*/ 46 w 53"/>
                    <a:gd name="T75" fmla="*/ 84 h 111"/>
                    <a:gd name="T76" fmla="*/ 42 w 53"/>
                    <a:gd name="T77" fmla="*/ 74 h 111"/>
                    <a:gd name="T78" fmla="*/ 36 w 53"/>
                    <a:gd name="T79" fmla="*/ 70 h 111"/>
                    <a:gd name="T80" fmla="*/ 42 w 53"/>
                    <a:gd name="T81" fmla="*/ 65 h 111"/>
                    <a:gd name="T82" fmla="*/ 42 w 53"/>
                    <a:gd name="T83" fmla="*/ 74 h 111"/>
                    <a:gd name="T84" fmla="*/ 40 w 53"/>
                    <a:gd name="T85" fmla="*/ 52 h 111"/>
                    <a:gd name="T86" fmla="*/ 7 w 53"/>
                    <a:gd name="T87" fmla="*/ 46 h 111"/>
                    <a:gd name="T88" fmla="*/ 13 w 53"/>
                    <a:gd name="T89" fmla="*/ 21 h 111"/>
                    <a:gd name="T90" fmla="*/ 46 w 53"/>
                    <a:gd name="T91" fmla="*/ 27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3" h="111">
                      <a:moveTo>
                        <a:pt x="46" y="10"/>
                      </a:moveTo>
                      <a:cubicBezTo>
                        <a:pt x="46" y="6"/>
                        <a:pt x="46" y="6"/>
                        <a:pt x="46" y="6"/>
                      </a:cubicBezTo>
                      <a:cubicBezTo>
                        <a:pt x="46" y="3"/>
                        <a:pt x="43" y="0"/>
                        <a:pt x="4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31" y="0"/>
                        <a:pt x="29" y="3"/>
                        <a:pt x="29" y="6"/>
                      </a:cubicBezTo>
                      <a:cubicBezTo>
                        <a:pt x="29" y="10"/>
                        <a:pt x="29" y="10"/>
                        <a:pt x="29" y="10"/>
                      </a:cubicBezTo>
                      <a:cubicBezTo>
                        <a:pt x="8" y="10"/>
                        <a:pt x="8" y="10"/>
                        <a:pt x="8" y="10"/>
                      </a:cubicBezTo>
                      <a:cubicBezTo>
                        <a:pt x="3" y="10"/>
                        <a:pt x="0" y="13"/>
                        <a:pt x="0" y="17"/>
                      </a:cubicBezTo>
                      <a:cubicBezTo>
                        <a:pt x="0" y="103"/>
                        <a:pt x="0" y="103"/>
                        <a:pt x="0" y="103"/>
                      </a:cubicBezTo>
                      <a:cubicBezTo>
                        <a:pt x="0" y="107"/>
                        <a:pt x="3" y="111"/>
                        <a:pt x="8" y="111"/>
                      </a:cubicBezTo>
                      <a:cubicBezTo>
                        <a:pt x="45" y="111"/>
                        <a:pt x="45" y="111"/>
                        <a:pt x="45" y="111"/>
                      </a:cubicBezTo>
                      <a:cubicBezTo>
                        <a:pt x="49" y="111"/>
                        <a:pt x="53" y="107"/>
                        <a:pt x="53" y="103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3" y="13"/>
                        <a:pt x="50" y="10"/>
                        <a:pt x="46" y="10"/>
                      </a:cubicBezTo>
                      <a:close/>
                      <a:moveTo>
                        <a:pt x="13" y="102"/>
                      </a:moveTo>
                      <a:cubicBezTo>
                        <a:pt x="11" y="102"/>
                        <a:pt x="11" y="102"/>
                        <a:pt x="11" y="102"/>
                      </a:cubicBezTo>
                      <a:cubicBezTo>
                        <a:pt x="9" y="102"/>
                        <a:pt x="7" y="100"/>
                        <a:pt x="7" y="98"/>
                      </a:cubicBezTo>
                      <a:cubicBezTo>
                        <a:pt x="7" y="95"/>
                        <a:pt x="9" y="93"/>
                        <a:pt x="11" y="93"/>
                      </a:cubicBezTo>
                      <a:cubicBezTo>
                        <a:pt x="13" y="93"/>
                        <a:pt x="13" y="93"/>
                        <a:pt x="13" y="93"/>
                      </a:cubicBezTo>
                      <a:cubicBezTo>
                        <a:pt x="15" y="93"/>
                        <a:pt x="17" y="95"/>
                        <a:pt x="17" y="98"/>
                      </a:cubicBezTo>
                      <a:cubicBezTo>
                        <a:pt x="17" y="100"/>
                        <a:pt x="15" y="102"/>
                        <a:pt x="13" y="102"/>
                      </a:cubicBezTo>
                      <a:close/>
                      <a:moveTo>
                        <a:pt x="13" y="88"/>
                      </a:moveTo>
                      <a:cubicBezTo>
                        <a:pt x="11" y="88"/>
                        <a:pt x="11" y="88"/>
                        <a:pt x="11" y="88"/>
                      </a:cubicBezTo>
                      <a:cubicBezTo>
                        <a:pt x="9" y="88"/>
                        <a:pt x="7" y="86"/>
                        <a:pt x="7" y="84"/>
                      </a:cubicBezTo>
                      <a:cubicBezTo>
                        <a:pt x="7" y="81"/>
                        <a:pt x="9" y="79"/>
                        <a:pt x="11" y="79"/>
                      </a:cubicBezTo>
                      <a:cubicBezTo>
                        <a:pt x="13" y="79"/>
                        <a:pt x="13" y="79"/>
                        <a:pt x="13" y="79"/>
                      </a:cubicBezTo>
                      <a:cubicBezTo>
                        <a:pt x="15" y="79"/>
                        <a:pt x="17" y="81"/>
                        <a:pt x="17" y="84"/>
                      </a:cubicBezTo>
                      <a:cubicBezTo>
                        <a:pt x="17" y="86"/>
                        <a:pt x="15" y="88"/>
                        <a:pt x="13" y="88"/>
                      </a:cubicBezTo>
                      <a:close/>
                      <a:moveTo>
                        <a:pt x="13" y="74"/>
                      </a:moveTo>
                      <a:cubicBezTo>
                        <a:pt x="11" y="74"/>
                        <a:pt x="11" y="74"/>
                        <a:pt x="11" y="74"/>
                      </a:cubicBezTo>
                      <a:cubicBezTo>
                        <a:pt x="9" y="74"/>
                        <a:pt x="7" y="72"/>
                        <a:pt x="7" y="70"/>
                      </a:cubicBezTo>
                      <a:cubicBezTo>
                        <a:pt x="7" y="67"/>
                        <a:pt x="9" y="65"/>
                        <a:pt x="11" y="65"/>
                      </a:cubicBezTo>
                      <a:cubicBezTo>
                        <a:pt x="13" y="65"/>
                        <a:pt x="13" y="65"/>
                        <a:pt x="13" y="65"/>
                      </a:cubicBezTo>
                      <a:cubicBezTo>
                        <a:pt x="15" y="65"/>
                        <a:pt x="17" y="67"/>
                        <a:pt x="17" y="70"/>
                      </a:cubicBezTo>
                      <a:cubicBezTo>
                        <a:pt x="17" y="72"/>
                        <a:pt x="15" y="74"/>
                        <a:pt x="13" y="74"/>
                      </a:cubicBezTo>
                      <a:close/>
                      <a:moveTo>
                        <a:pt x="27" y="102"/>
                      </a:moveTo>
                      <a:cubicBezTo>
                        <a:pt x="26" y="102"/>
                        <a:pt x="26" y="102"/>
                        <a:pt x="26" y="102"/>
                      </a:cubicBezTo>
                      <a:cubicBezTo>
                        <a:pt x="23" y="102"/>
                        <a:pt x="21" y="100"/>
                        <a:pt x="21" y="98"/>
                      </a:cubicBezTo>
                      <a:cubicBezTo>
                        <a:pt x="21" y="95"/>
                        <a:pt x="23" y="93"/>
                        <a:pt x="26" y="93"/>
                      </a:cubicBezTo>
                      <a:cubicBezTo>
                        <a:pt x="27" y="93"/>
                        <a:pt x="27" y="93"/>
                        <a:pt x="27" y="93"/>
                      </a:cubicBezTo>
                      <a:cubicBezTo>
                        <a:pt x="30" y="93"/>
                        <a:pt x="32" y="95"/>
                        <a:pt x="32" y="98"/>
                      </a:cubicBezTo>
                      <a:cubicBezTo>
                        <a:pt x="32" y="100"/>
                        <a:pt x="30" y="102"/>
                        <a:pt x="27" y="102"/>
                      </a:cubicBezTo>
                      <a:close/>
                      <a:moveTo>
                        <a:pt x="27" y="88"/>
                      </a:moveTo>
                      <a:cubicBezTo>
                        <a:pt x="26" y="88"/>
                        <a:pt x="26" y="88"/>
                        <a:pt x="26" y="88"/>
                      </a:cubicBezTo>
                      <a:cubicBezTo>
                        <a:pt x="23" y="88"/>
                        <a:pt x="21" y="86"/>
                        <a:pt x="21" y="84"/>
                      </a:cubicBezTo>
                      <a:cubicBezTo>
                        <a:pt x="21" y="81"/>
                        <a:pt x="23" y="79"/>
                        <a:pt x="26" y="79"/>
                      </a:cubicBezTo>
                      <a:cubicBezTo>
                        <a:pt x="27" y="79"/>
                        <a:pt x="27" y="79"/>
                        <a:pt x="27" y="79"/>
                      </a:cubicBezTo>
                      <a:cubicBezTo>
                        <a:pt x="30" y="79"/>
                        <a:pt x="32" y="81"/>
                        <a:pt x="32" y="84"/>
                      </a:cubicBezTo>
                      <a:cubicBezTo>
                        <a:pt x="32" y="86"/>
                        <a:pt x="30" y="88"/>
                        <a:pt x="27" y="88"/>
                      </a:cubicBezTo>
                      <a:close/>
                      <a:moveTo>
                        <a:pt x="27" y="74"/>
                      </a:moveTo>
                      <a:cubicBezTo>
                        <a:pt x="26" y="74"/>
                        <a:pt x="26" y="74"/>
                        <a:pt x="26" y="74"/>
                      </a:cubicBezTo>
                      <a:cubicBezTo>
                        <a:pt x="23" y="74"/>
                        <a:pt x="21" y="72"/>
                        <a:pt x="21" y="70"/>
                      </a:cubicBezTo>
                      <a:cubicBezTo>
                        <a:pt x="21" y="67"/>
                        <a:pt x="23" y="65"/>
                        <a:pt x="26" y="65"/>
                      </a:cubicBezTo>
                      <a:cubicBezTo>
                        <a:pt x="27" y="65"/>
                        <a:pt x="27" y="65"/>
                        <a:pt x="27" y="65"/>
                      </a:cubicBezTo>
                      <a:cubicBezTo>
                        <a:pt x="30" y="65"/>
                        <a:pt x="32" y="67"/>
                        <a:pt x="32" y="70"/>
                      </a:cubicBezTo>
                      <a:cubicBezTo>
                        <a:pt x="32" y="72"/>
                        <a:pt x="30" y="74"/>
                        <a:pt x="27" y="74"/>
                      </a:cubicBezTo>
                      <a:close/>
                      <a:moveTo>
                        <a:pt x="34" y="59"/>
                      </a:moveTo>
                      <a:cubicBezTo>
                        <a:pt x="19" y="59"/>
                        <a:pt x="19" y="59"/>
                        <a:pt x="19" y="59"/>
                      </a:cubicBezTo>
                      <a:cubicBezTo>
                        <a:pt x="18" y="59"/>
                        <a:pt x="17" y="58"/>
                        <a:pt x="17" y="57"/>
                      </a:cubicBezTo>
                      <a:cubicBezTo>
                        <a:pt x="17" y="56"/>
                        <a:pt x="18" y="56"/>
                        <a:pt x="19" y="56"/>
                      </a:cubicBezTo>
                      <a:cubicBezTo>
                        <a:pt x="34" y="56"/>
                        <a:pt x="34" y="56"/>
                        <a:pt x="34" y="56"/>
                      </a:cubicBezTo>
                      <a:cubicBezTo>
                        <a:pt x="35" y="56"/>
                        <a:pt x="36" y="56"/>
                        <a:pt x="36" y="57"/>
                      </a:cubicBezTo>
                      <a:cubicBezTo>
                        <a:pt x="36" y="58"/>
                        <a:pt x="35" y="59"/>
                        <a:pt x="34" y="59"/>
                      </a:cubicBezTo>
                      <a:close/>
                      <a:moveTo>
                        <a:pt x="42" y="102"/>
                      </a:moveTo>
                      <a:cubicBezTo>
                        <a:pt x="40" y="102"/>
                        <a:pt x="40" y="102"/>
                        <a:pt x="40" y="102"/>
                      </a:cubicBezTo>
                      <a:cubicBezTo>
                        <a:pt x="38" y="102"/>
                        <a:pt x="36" y="100"/>
                        <a:pt x="36" y="98"/>
                      </a:cubicBezTo>
                      <a:cubicBezTo>
                        <a:pt x="36" y="95"/>
                        <a:pt x="38" y="93"/>
                        <a:pt x="40" y="93"/>
                      </a:cubicBezTo>
                      <a:cubicBezTo>
                        <a:pt x="42" y="93"/>
                        <a:pt x="42" y="93"/>
                        <a:pt x="42" y="93"/>
                      </a:cubicBezTo>
                      <a:cubicBezTo>
                        <a:pt x="44" y="93"/>
                        <a:pt x="46" y="95"/>
                        <a:pt x="46" y="98"/>
                      </a:cubicBezTo>
                      <a:cubicBezTo>
                        <a:pt x="46" y="100"/>
                        <a:pt x="44" y="102"/>
                        <a:pt x="42" y="102"/>
                      </a:cubicBezTo>
                      <a:close/>
                      <a:moveTo>
                        <a:pt x="42" y="88"/>
                      </a:moveTo>
                      <a:cubicBezTo>
                        <a:pt x="40" y="88"/>
                        <a:pt x="40" y="88"/>
                        <a:pt x="40" y="88"/>
                      </a:cubicBezTo>
                      <a:cubicBezTo>
                        <a:pt x="38" y="88"/>
                        <a:pt x="36" y="86"/>
                        <a:pt x="36" y="84"/>
                      </a:cubicBezTo>
                      <a:cubicBezTo>
                        <a:pt x="36" y="81"/>
                        <a:pt x="38" y="79"/>
                        <a:pt x="40" y="79"/>
                      </a:cubicBezTo>
                      <a:cubicBezTo>
                        <a:pt x="42" y="79"/>
                        <a:pt x="42" y="79"/>
                        <a:pt x="42" y="79"/>
                      </a:cubicBezTo>
                      <a:cubicBezTo>
                        <a:pt x="44" y="79"/>
                        <a:pt x="46" y="81"/>
                        <a:pt x="46" y="84"/>
                      </a:cubicBezTo>
                      <a:cubicBezTo>
                        <a:pt x="46" y="86"/>
                        <a:pt x="44" y="88"/>
                        <a:pt x="42" y="88"/>
                      </a:cubicBezTo>
                      <a:close/>
                      <a:moveTo>
                        <a:pt x="42" y="74"/>
                      </a:moveTo>
                      <a:cubicBezTo>
                        <a:pt x="40" y="74"/>
                        <a:pt x="40" y="74"/>
                        <a:pt x="40" y="74"/>
                      </a:cubicBezTo>
                      <a:cubicBezTo>
                        <a:pt x="38" y="74"/>
                        <a:pt x="36" y="72"/>
                        <a:pt x="36" y="70"/>
                      </a:cubicBezTo>
                      <a:cubicBezTo>
                        <a:pt x="36" y="67"/>
                        <a:pt x="38" y="65"/>
                        <a:pt x="40" y="65"/>
                      </a:cubicBezTo>
                      <a:cubicBezTo>
                        <a:pt x="42" y="65"/>
                        <a:pt x="42" y="65"/>
                        <a:pt x="42" y="65"/>
                      </a:cubicBezTo>
                      <a:cubicBezTo>
                        <a:pt x="44" y="65"/>
                        <a:pt x="46" y="67"/>
                        <a:pt x="46" y="70"/>
                      </a:cubicBezTo>
                      <a:cubicBezTo>
                        <a:pt x="46" y="72"/>
                        <a:pt x="44" y="74"/>
                        <a:pt x="42" y="74"/>
                      </a:cubicBezTo>
                      <a:close/>
                      <a:moveTo>
                        <a:pt x="46" y="46"/>
                      </a:moveTo>
                      <a:cubicBezTo>
                        <a:pt x="46" y="49"/>
                        <a:pt x="43" y="52"/>
                        <a:pt x="40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9" y="52"/>
                        <a:pt x="7" y="49"/>
                        <a:pt x="7" y="46"/>
                      </a:cubicBezTo>
                      <a:cubicBezTo>
                        <a:pt x="7" y="27"/>
                        <a:pt x="7" y="27"/>
                        <a:pt x="7" y="27"/>
                      </a:cubicBezTo>
                      <a:cubicBezTo>
                        <a:pt x="7" y="24"/>
                        <a:pt x="9" y="21"/>
                        <a:pt x="13" y="21"/>
                      </a:cubicBezTo>
                      <a:cubicBezTo>
                        <a:pt x="40" y="21"/>
                        <a:pt x="40" y="21"/>
                        <a:pt x="40" y="21"/>
                      </a:cubicBezTo>
                      <a:cubicBezTo>
                        <a:pt x="43" y="21"/>
                        <a:pt x="46" y="24"/>
                        <a:pt x="46" y="27"/>
                      </a:cubicBezTo>
                      <a:lnTo>
                        <a:pt x="46" y="4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" name="Freeform 28"/>
                <p:cNvSpPr>
                  <a:spLocks noEditPoints="1"/>
                </p:cNvSpPr>
                <p:nvPr/>
              </p:nvSpPr>
              <p:spPr bwMode="auto">
                <a:xfrm>
                  <a:off x="3367088" y="3929063"/>
                  <a:ext cx="569913" cy="423862"/>
                </a:xfrm>
                <a:custGeom>
                  <a:avLst/>
                  <a:gdLst>
                    <a:gd name="T0" fmla="*/ 147 w 152"/>
                    <a:gd name="T1" fmla="*/ 95 h 113"/>
                    <a:gd name="T2" fmla="*/ 131 w 152"/>
                    <a:gd name="T3" fmla="*/ 78 h 113"/>
                    <a:gd name="T4" fmla="*/ 122 w 152"/>
                    <a:gd name="T5" fmla="*/ 71 h 113"/>
                    <a:gd name="T6" fmla="*/ 130 w 152"/>
                    <a:gd name="T7" fmla="*/ 59 h 113"/>
                    <a:gd name="T8" fmla="*/ 130 w 152"/>
                    <a:gd name="T9" fmla="*/ 12 h 113"/>
                    <a:gd name="T10" fmla="*/ 118 w 152"/>
                    <a:gd name="T11" fmla="*/ 0 h 113"/>
                    <a:gd name="T12" fmla="*/ 35 w 152"/>
                    <a:gd name="T13" fmla="*/ 0 h 113"/>
                    <a:gd name="T14" fmla="*/ 22 w 152"/>
                    <a:gd name="T15" fmla="*/ 12 h 113"/>
                    <a:gd name="T16" fmla="*/ 22 w 152"/>
                    <a:gd name="T17" fmla="*/ 59 h 113"/>
                    <a:gd name="T18" fmla="*/ 30 w 152"/>
                    <a:gd name="T19" fmla="*/ 71 h 113"/>
                    <a:gd name="T20" fmla="*/ 22 w 152"/>
                    <a:gd name="T21" fmla="*/ 78 h 113"/>
                    <a:gd name="T22" fmla="*/ 5 w 152"/>
                    <a:gd name="T23" fmla="*/ 95 h 113"/>
                    <a:gd name="T24" fmla="*/ 0 w 152"/>
                    <a:gd name="T25" fmla="*/ 104 h 113"/>
                    <a:gd name="T26" fmla="*/ 13 w 152"/>
                    <a:gd name="T27" fmla="*/ 113 h 113"/>
                    <a:gd name="T28" fmla="*/ 139 w 152"/>
                    <a:gd name="T29" fmla="*/ 113 h 113"/>
                    <a:gd name="T30" fmla="*/ 152 w 152"/>
                    <a:gd name="T31" fmla="*/ 104 h 113"/>
                    <a:gd name="T32" fmla="*/ 147 w 152"/>
                    <a:gd name="T33" fmla="*/ 95 h 113"/>
                    <a:gd name="T34" fmla="*/ 61 w 152"/>
                    <a:gd name="T35" fmla="*/ 97 h 113"/>
                    <a:gd name="T36" fmla="*/ 67 w 152"/>
                    <a:gd name="T37" fmla="*/ 90 h 113"/>
                    <a:gd name="T38" fmla="*/ 85 w 152"/>
                    <a:gd name="T39" fmla="*/ 90 h 113"/>
                    <a:gd name="T40" fmla="*/ 92 w 152"/>
                    <a:gd name="T41" fmla="*/ 97 h 113"/>
                    <a:gd name="T42" fmla="*/ 61 w 152"/>
                    <a:gd name="T43" fmla="*/ 97 h 113"/>
                    <a:gd name="T44" fmla="*/ 121 w 152"/>
                    <a:gd name="T45" fmla="*/ 59 h 113"/>
                    <a:gd name="T46" fmla="*/ 118 w 152"/>
                    <a:gd name="T47" fmla="*/ 63 h 113"/>
                    <a:gd name="T48" fmla="*/ 35 w 152"/>
                    <a:gd name="T49" fmla="*/ 63 h 113"/>
                    <a:gd name="T50" fmla="*/ 31 w 152"/>
                    <a:gd name="T51" fmla="*/ 59 h 113"/>
                    <a:gd name="T52" fmla="*/ 31 w 152"/>
                    <a:gd name="T53" fmla="*/ 12 h 113"/>
                    <a:gd name="T54" fmla="*/ 35 w 152"/>
                    <a:gd name="T55" fmla="*/ 9 h 113"/>
                    <a:gd name="T56" fmla="*/ 118 w 152"/>
                    <a:gd name="T57" fmla="*/ 9 h 113"/>
                    <a:gd name="T58" fmla="*/ 121 w 152"/>
                    <a:gd name="T59" fmla="*/ 12 h 113"/>
                    <a:gd name="T60" fmla="*/ 121 w 152"/>
                    <a:gd name="T61" fmla="*/ 59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52" h="113">
                      <a:moveTo>
                        <a:pt x="147" y="95"/>
                      </a:moveTo>
                      <a:cubicBezTo>
                        <a:pt x="131" y="78"/>
                        <a:pt x="131" y="78"/>
                        <a:pt x="131" y="78"/>
                      </a:cubicBezTo>
                      <a:cubicBezTo>
                        <a:pt x="131" y="78"/>
                        <a:pt x="126" y="72"/>
                        <a:pt x="122" y="71"/>
                      </a:cubicBezTo>
                      <a:cubicBezTo>
                        <a:pt x="127" y="69"/>
                        <a:pt x="130" y="65"/>
                        <a:pt x="130" y="59"/>
                      </a:cubicBezTo>
                      <a:cubicBezTo>
                        <a:pt x="130" y="12"/>
                        <a:pt x="130" y="12"/>
                        <a:pt x="130" y="12"/>
                      </a:cubicBezTo>
                      <a:cubicBezTo>
                        <a:pt x="130" y="5"/>
                        <a:pt x="125" y="0"/>
                        <a:pt x="118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28" y="0"/>
                        <a:pt x="22" y="5"/>
                        <a:pt x="22" y="12"/>
                      </a:cubicBezTo>
                      <a:cubicBezTo>
                        <a:pt x="22" y="59"/>
                        <a:pt x="22" y="59"/>
                        <a:pt x="22" y="59"/>
                      </a:cubicBezTo>
                      <a:cubicBezTo>
                        <a:pt x="22" y="65"/>
                        <a:pt x="25" y="69"/>
                        <a:pt x="30" y="71"/>
                      </a:cubicBezTo>
                      <a:cubicBezTo>
                        <a:pt x="27" y="72"/>
                        <a:pt x="22" y="78"/>
                        <a:pt x="22" y="78"/>
                      </a:cubicBezTo>
                      <a:cubicBezTo>
                        <a:pt x="5" y="95"/>
                        <a:pt x="5" y="95"/>
                        <a:pt x="5" y="95"/>
                      </a:cubicBezTo>
                      <a:cubicBezTo>
                        <a:pt x="5" y="95"/>
                        <a:pt x="0" y="100"/>
                        <a:pt x="0" y="104"/>
                      </a:cubicBezTo>
                      <a:cubicBezTo>
                        <a:pt x="0" y="110"/>
                        <a:pt x="6" y="113"/>
                        <a:pt x="13" y="113"/>
                      </a:cubicBezTo>
                      <a:cubicBezTo>
                        <a:pt x="139" y="113"/>
                        <a:pt x="139" y="113"/>
                        <a:pt x="139" y="113"/>
                      </a:cubicBezTo>
                      <a:cubicBezTo>
                        <a:pt x="146" y="113"/>
                        <a:pt x="152" y="110"/>
                        <a:pt x="152" y="104"/>
                      </a:cubicBezTo>
                      <a:cubicBezTo>
                        <a:pt x="152" y="100"/>
                        <a:pt x="147" y="95"/>
                        <a:pt x="147" y="95"/>
                      </a:cubicBezTo>
                      <a:close/>
                      <a:moveTo>
                        <a:pt x="61" y="97"/>
                      </a:moveTo>
                      <a:cubicBezTo>
                        <a:pt x="67" y="90"/>
                        <a:pt x="67" y="90"/>
                        <a:pt x="67" y="90"/>
                      </a:cubicBezTo>
                      <a:cubicBezTo>
                        <a:pt x="85" y="90"/>
                        <a:pt x="85" y="90"/>
                        <a:pt x="85" y="90"/>
                      </a:cubicBezTo>
                      <a:cubicBezTo>
                        <a:pt x="92" y="97"/>
                        <a:pt x="92" y="97"/>
                        <a:pt x="92" y="97"/>
                      </a:cubicBezTo>
                      <a:lnTo>
                        <a:pt x="61" y="97"/>
                      </a:lnTo>
                      <a:close/>
                      <a:moveTo>
                        <a:pt x="121" y="59"/>
                      </a:moveTo>
                      <a:cubicBezTo>
                        <a:pt x="121" y="61"/>
                        <a:pt x="120" y="63"/>
                        <a:pt x="118" y="63"/>
                      </a:cubicBezTo>
                      <a:cubicBezTo>
                        <a:pt x="35" y="63"/>
                        <a:pt x="35" y="63"/>
                        <a:pt x="35" y="63"/>
                      </a:cubicBezTo>
                      <a:cubicBezTo>
                        <a:pt x="32" y="63"/>
                        <a:pt x="31" y="61"/>
                        <a:pt x="31" y="59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0"/>
                        <a:pt x="32" y="9"/>
                        <a:pt x="35" y="9"/>
                      </a:cubicBezTo>
                      <a:cubicBezTo>
                        <a:pt x="118" y="9"/>
                        <a:pt x="118" y="9"/>
                        <a:pt x="118" y="9"/>
                      </a:cubicBezTo>
                      <a:cubicBezTo>
                        <a:pt x="120" y="9"/>
                        <a:pt x="121" y="10"/>
                        <a:pt x="121" y="12"/>
                      </a:cubicBezTo>
                      <a:lnTo>
                        <a:pt x="121" y="5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3" name="TextBox 2"/>
          <p:cNvSpPr txBox="1"/>
          <p:nvPr/>
        </p:nvSpPr>
        <p:spPr>
          <a:xfrm>
            <a:off x="6380089" y="3513712"/>
            <a:ext cx="8858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err="1" smtClean="0">
                <a:latin typeface="Frutiger" panose="020B0500000000000000" pitchFamily="34" charset="0"/>
              </a:rPr>
              <a:t>NOx</a:t>
            </a:r>
            <a:endParaRPr lang="en-GB" sz="1600" b="1" dirty="0">
              <a:latin typeface="Frutiger" panose="020B0500000000000000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20526" y="3628788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smtClean="0">
                <a:latin typeface="Frutiger" panose="020B0500000000000000" pitchFamily="34" charset="0"/>
              </a:rPr>
              <a:t>Increase in activity and associated goods and services required</a:t>
            </a:r>
          </a:p>
        </p:txBody>
      </p:sp>
      <p:sp>
        <p:nvSpPr>
          <p:cNvPr id="42" name="Rectangle 41"/>
          <p:cNvSpPr/>
          <p:nvPr/>
        </p:nvSpPr>
        <p:spPr>
          <a:xfrm>
            <a:off x="220526" y="2047381"/>
            <a:ext cx="4572000" cy="133882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Frutiger" panose="020B0500000000000000" pitchFamily="34" charset="0"/>
              </a:rPr>
              <a:t>Outdoor air pollution is contributing to about 40,000 early deaths a year in the </a:t>
            </a:r>
            <a:r>
              <a:rPr lang="en-GB" dirty="0" smtClean="0">
                <a:latin typeface="Frutiger" panose="020B0500000000000000" pitchFamily="34" charset="0"/>
              </a:rPr>
              <a:t>UK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938" y="4696122"/>
            <a:ext cx="2905744" cy="1633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152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20" t="15224" r="33061" b="28206"/>
          <a:stretch>
            <a:fillRect/>
          </a:stretch>
        </p:blipFill>
        <p:spPr bwMode="auto">
          <a:xfrm>
            <a:off x="231569" y="3372593"/>
            <a:ext cx="3137209" cy="2687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231569" y="1319951"/>
            <a:ext cx="8414048" cy="17098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smtClean="0">
                <a:latin typeface="Frutiger" panose="020B0500000000000000" pitchFamily="34" charset="0"/>
              </a:rPr>
              <a:t>Delivery profiles overlapping due to NHS IT ‘district’ set up</a:t>
            </a:r>
          </a:p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smtClean="0">
                <a:latin typeface="Frutiger" panose="020B0500000000000000" pitchFamily="34" charset="0"/>
              </a:rPr>
              <a:t>Customers could receive multiple deliveries to the same stores on the same day</a:t>
            </a:r>
          </a:p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smtClean="0">
                <a:latin typeface="Frutiger" panose="020B0500000000000000" pitchFamily="34" charset="0"/>
              </a:rPr>
              <a:t>Sub optimal utilisation of vehicles and drivers</a:t>
            </a:r>
          </a:p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smtClean="0">
                <a:latin typeface="Frutiger" panose="020B0500000000000000" pitchFamily="34" charset="0"/>
              </a:rPr>
              <a:t>Excessive distance travelled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4830" y="260648"/>
            <a:ext cx="6834022" cy="666750"/>
          </a:xfrm>
        </p:spPr>
        <p:txBody>
          <a:bodyPr>
            <a:normAutofit fontScale="90000"/>
          </a:bodyPr>
          <a:lstStyle/>
          <a:p>
            <a:r>
              <a:rPr lang="en-GB" sz="2400" dirty="0" smtClean="0"/>
              <a:t>Urban Consolidation - London Consolidation Centre</a:t>
            </a:r>
            <a:endParaRPr lang="en-GB" sz="2400" b="1" dirty="0">
              <a:latin typeface="Frutiger" panose="020B0500000000000000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36705" y="927398"/>
            <a:ext cx="820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00B050"/>
                </a:solidFill>
                <a:latin typeface="Frutiger" panose="020B0500000000000000" pitchFamily="34" charset="0"/>
              </a:rPr>
              <a:t>Historical Position</a:t>
            </a:r>
            <a:endParaRPr lang="en-GB" sz="1600" dirty="0">
              <a:solidFill>
                <a:srgbClr val="00B050"/>
              </a:solidFill>
              <a:latin typeface="Frutiger" panose="020B0500000000000000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631168" y="3372593"/>
            <a:ext cx="317339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 smtClean="0">
                <a:latin typeface="Frutiger" panose="020B0500000000000000" pitchFamily="34" charset="0"/>
              </a:rPr>
              <a:t>Historic delivery profile – different colours represent different originating distribution centres</a:t>
            </a:r>
            <a:r>
              <a:rPr lang="en-GB" sz="1200" dirty="0">
                <a:latin typeface="Frutiger" panose="020B0500000000000000" pitchFamily="34" charset="0"/>
              </a:rPr>
              <a:t>	</a:t>
            </a:r>
            <a:endParaRPr lang="en-GB" sz="1200" dirty="0" smtClean="0">
              <a:latin typeface="Frutiger" panose="020B0500000000000000" pitchFamily="34" charset="0"/>
            </a:endParaRPr>
          </a:p>
        </p:txBody>
      </p:sp>
      <p:pic>
        <p:nvPicPr>
          <p:cNvPr id="2050" name="Picture 2" descr="S:\TRANSPORT\Photo shoot July 2016\CGE16148a-164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0468" y="4364978"/>
            <a:ext cx="2716768" cy="1811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947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4830" y="260648"/>
            <a:ext cx="6834022" cy="666750"/>
          </a:xfrm>
        </p:spPr>
        <p:txBody>
          <a:bodyPr>
            <a:normAutofit fontScale="90000"/>
          </a:bodyPr>
          <a:lstStyle/>
          <a:p>
            <a:r>
              <a:rPr lang="en-GB" sz="2400" dirty="0"/>
              <a:t>Urban Consolidation - London Consolidation Centre</a:t>
            </a:r>
            <a:endParaRPr lang="en-GB" sz="2400" b="1" dirty="0">
              <a:latin typeface="Frutiger" panose="020B0500000000000000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32162" y="968054"/>
            <a:ext cx="82089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rgbClr val="00B050"/>
                </a:solidFill>
                <a:latin typeface="Frutiger" panose="020B0500000000000000" pitchFamily="34" charset="0"/>
              </a:rPr>
              <a:t>Solution</a:t>
            </a:r>
            <a:endParaRPr lang="en-GB" dirty="0">
              <a:solidFill>
                <a:srgbClr val="00B050"/>
              </a:solidFill>
              <a:latin typeface="Frutiger" panose="020B0500000000000000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2162" y="1274751"/>
            <a:ext cx="8414048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Frutiger" panose="020B0500000000000000" pitchFamily="34" charset="0"/>
              </a:rPr>
              <a:t>	</a:t>
            </a:r>
            <a:endParaRPr lang="en-GB" sz="1200" dirty="0" smtClean="0">
              <a:latin typeface="Frutiger" panose="020B0500000000000000" pitchFamily="34" charset="0"/>
            </a:endParaRPr>
          </a:p>
          <a:p>
            <a:r>
              <a:rPr lang="en-GB" sz="12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Cross Dock Centre in Enfield</a:t>
            </a:r>
          </a:p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	</a:t>
            </a:r>
          </a:p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Central ‘master plan’ for LCC deliveries across all 3 Distribution Centres focussing on multi drop activity</a:t>
            </a:r>
          </a:p>
          <a:p>
            <a:r>
              <a:rPr lang="en-GB" sz="1400" dirty="0" smtClean="0">
                <a:latin typeface="Frutiger" panose="020B0500000000000000" pitchFamily="34" charset="0"/>
              </a:rPr>
              <a:t>	</a:t>
            </a:r>
          </a:p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Trunking schedule (on double deck trailers for maximum utilisation) from the 3 host distribution centres to LCC</a:t>
            </a:r>
          </a:p>
          <a:p>
            <a:endParaRPr lang="en-GB" sz="1400" dirty="0" smtClean="0">
              <a:latin typeface="Frutiger" panose="020B0500000000000000" pitchFamily="34" charset="0"/>
            </a:endParaRPr>
          </a:p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Secondary deliveries to customers on LCC fleet</a:t>
            </a:r>
          </a:p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Small consignments delivered direct to customer from Host DCs  via UK Mail network</a:t>
            </a:r>
          </a:p>
        </p:txBody>
      </p:sp>
      <p:pic>
        <p:nvPicPr>
          <p:cNvPr id="11" name="Picture 2" descr="S:\TRANSPORT\Photo shoot July 2016\CGE16148a-151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5735" y="4648650"/>
            <a:ext cx="2406233" cy="1604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258" y="5545727"/>
            <a:ext cx="1888680" cy="524387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342062" y="3721121"/>
            <a:ext cx="820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00B050"/>
                </a:solidFill>
                <a:latin typeface="Frutiger" panose="020B0500000000000000" pitchFamily="34" charset="0"/>
              </a:rPr>
              <a:t>Public sector &amp; DHL collaboration</a:t>
            </a:r>
            <a:endParaRPr lang="en-GB" sz="1600" dirty="0">
              <a:solidFill>
                <a:srgbClr val="00B050"/>
              </a:solidFill>
              <a:latin typeface="Frutiger" panose="020B0500000000000000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84562" y="4090453"/>
            <a:ext cx="84140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Frutiger" panose="020B0500000000000000" pitchFamily="34" charset="0"/>
              </a:rPr>
              <a:t>	</a:t>
            </a:r>
            <a:endParaRPr lang="en-GB" sz="1200" dirty="0" smtClean="0">
              <a:latin typeface="Frutiger" panose="020B0500000000000000" pitchFamily="34" charset="0"/>
            </a:endParaRPr>
          </a:p>
          <a:p>
            <a:r>
              <a:rPr lang="en-GB" sz="1200" dirty="0">
                <a:latin typeface="Frutiger" panose="020B0500000000000000" pitchFamily="34" charset="0"/>
              </a:rPr>
              <a:t>	</a:t>
            </a:r>
            <a:endParaRPr lang="en-GB" sz="1400" dirty="0" smtClean="0">
              <a:latin typeface="Frutiger" panose="020B0500000000000000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24830" y="4194102"/>
            <a:ext cx="841404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DHL operated Camden council consolidation centre moved to LCC</a:t>
            </a:r>
          </a:p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Sharing management, space and resource</a:t>
            </a:r>
          </a:p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Home Delivery Service </a:t>
            </a:r>
            <a:r>
              <a:rPr lang="en-GB" sz="1400" dirty="0" err="1" smtClean="0">
                <a:latin typeface="Frutiger" panose="020B0500000000000000" pitchFamily="34" charset="0"/>
              </a:rPr>
              <a:t>outbase</a:t>
            </a:r>
            <a:r>
              <a:rPr lang="en-GB" sz="1400" dirty="0" smtClean="0">
                <a:latin typeface="Frutiger" panose="020B0500000000000000" pitchFamily="34" charset="0"/>
              </a:rPr>
              <a:t> moved to LCC further resource </a:t>
            </a:r>
          </a:p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sharing and operational synergies</a:t>
            </a:r>
          </a:p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  </a:t>
            </a:r>
            <a:endParaRPr lang="en-GB" sz="1600" dirty="0" smtClean="0">
              <a:latin typeface="Frutiger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3940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1569" y="1319951"/>
            <a:ext cx="8414048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latin typeface="Frutiger" panose="020B0500000000000000" pitchFamily="34" charset="0"/>
              </a:rPr>
              <a:t>	</a:t>
            </a:r>
            <a:r>
              <a:rPr lang="en-GB" sz="1400" dirty="0">
                <a:latin typeface="Frutiger" panose="020B0500000000000000" pitchFamily="34" charset="0"/>
              </a:rPr>
              <a:t>Reduction of 6 </a:t>
            </a:r>
            <a:r>
              <a:rPr lang="en-GB" sz="1400" dirty="0" smtClean="0">
                <a:latin typeface="Frutiger" panose="020B0500000000000000" pitchFamily="34" charset="0"/>
              </a:rPr>
              <a:t>vehicles for NHS Supply Chain</a:t>
            </a:r>
          </a:p>
          <a:p>
            <a:endParaRPr lang="en-GB" sz="1400" dirty="0" smtClean="0">
              <a:latin typeface="Frutiger" panose="020B0500000000000000" pitchFamily="34" charset="0"/>
            </a:endParaRPr>
          </a:p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Annual reduction of </a:t>
            </a:r>
            <a:r>
              <a:rPr lang="en-GB" sz="1400" b="1" dirty="0" smtClean="0">
                <a:latin typeface="Frutiger" panose="020B0500000000000000" pitchFamily="34" charset="0"/>
              </a:rPr>
              <a:t>281,000</a:t>
            </a:r>
            <a:r>
              <a:rPr lang="en-GB" sz="1400" dirty="0" smtClean="0">
                <a:latin typeface="Frutiger" panose="020B0500000000000000" pitchFamily="34" charset="0"/>
              </a:rPr>
              <a:t> </a:t>
            </a:r>
            <a:r>
              <a:rPr lang="en-GB" sz="1400" dirty="0">
                <a:latin typeface="Frutiger" panose="020B0500000000000000" pitchFamily="34" charset="0"/>
              </a:rPr>
              <a:t>miles travelled </a:t>
            </a:r>
            <a:r>
              <a:rPr lang="en-GB" sz="1400" dirty="0" smtClean="0">
                <a:latin typeface="Frutiger" panose="020B0500000000000000" pitchFamily="34" charset="0"/>
              </a:rPr>
              <a:t>(</a:t>
            </a:r>
            <a:r>
              <a:rPr lang="en-GB" sz="1400" b="1" dirty="0" smtClean="0">
                <a:latin typeface="Frutiger" panose="020B0500000000000000" pitchFamily="34" charset="0"/>
              </a:rPr>
              <a:t>20% </a:t>
            </a:r>
            <a:r>
              <a:rPr lang="en-GB" sz="1400" dirty="0" smtClean="0">
                <a:latin typeface="Frutiger" panose="020B0500000000000000" pitchFamily="34" charset="0"/>
              </a:rPr>
              <a:t>of miles related to London deliveries)</a:t>
            </a:r>
            <a:endParaRPr lang="en-GB" sz="1400" dirty="0">
              <a:latin typeface="Frutiger" panose="020B0500000000000000" pitchFamily="34" charset="0"/>
            </a:endParaRPr>
          </a:p>
          <a:p>
            <a:endParaRPr lang="en-GB" sz="1400" dirty="0" smtClean="0">
              <a:latin typeface="Frutiger" panose="020B0500000000000000" pitchFamily="34" charset="0"/>
            </a:endParaRPr>
          </a:p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Annual reduction in emissions of </a:t>
            </a:r>
            <a:r>
              <a:rPr lang="en-GB" sz="1400" b="1" dirty="0" smtClean="0">
                <a:latin typeface="Frutiger" panose="020B0500000000000000" pitchFamily="34" charset="0"/>
              </a:rPr>
              <a:t>250 </a:t>
            </a:r>
            <a:r>
              <a:rPr lang="en-GB" sz="1400" dirty="0">
                <a:latin typeface="Frutiger" panose="020B0500000000000000" pitchFamily="34" charset="0"/>
              </a:rPr>
              <a:t>tonnes of CO2.</a:t>
            </a:r>
          </a:p>
          <a:p>
            <a:r>
              <a:rPr lang="en-GB" sz="1400" dirty="0">
                <a:latin typeface="Frutiger" panose="020B0500000000000000" pitchFamily="34" charset="0"/>
              </a:rPr>
              <a:t>		</a:t>
            </a:r>
            <a:endParaRPr lang="en-GB" sz="1400" dirty="0" smtClean="0">
              <a:latin typeface="Frutiger" panose="020B0500000000000000" pitchFamily="34" charset="0"/>
            </a:endParaRPr>
          </a:p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Annual cost </a:t>
            </a:r>
            <a:r>
              <a:rPr lang="en-GB" sz="1400" dirty="0">
                <a:latin typeface="Frutiger" panose="020B0500000000000000" pitchFamily="34" charset="0"/>
              </a:rPr>
              <a:t>saving of </a:t>
            </a:r>
            <a:r>
              <a:rPr lang="en-GB" sz="1400" b="1" dirty="0">
                <a:latin typeface="Frutiger" panose="020B0500000000000000" pitchFamily="34" charset="0"/>
              </a:rPr>
              <a:t>£</a:t>
            </a:r>
            <a:r>
              <a:rPr lang="en-GB" sz="1400" b="1" dirty="0" smtClean="0">
                <a:latin typeface="Frutiger" panose="020B0500000000000000" pitchFamily="34" charset="0"/>
              </a:rPr>
              <a:t>160k</a:t>
            </a:r>
          </a:p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endParaRPr lang="en-GB" sz="1400" dirty="0" smtClean="0">
              <a:latin typeface="Frutiger" panose="020B0500000000000000" pitchFamily="34" charset="0"/>
            </a:endParaRPr>
          </a:p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Improved visibility and planning processes</a:t>
            </a:r>
          </a:p>
          <a:p>
            <a:endParaRPr lang="en-GB" sz="1400" dirty="0">
              <a:latin typeface="Frutiger" panose="020B0500000000000000" pitchFamily="34" charset="0"/>
            </a:endParaRPr>
          </a:p>
          <a:p>
            <a:r>
              <a:rPr lang="en-GB" sz="1400" dirty="0" smtClean="0">
                <a:latin typeface="Frutiger" panose="020B0500000000000000" pitchFamily="34" charset="0"/>
              </a:rPr>
              <a:t>	Improvement in customer experience</a:t>
            </a:r>
          </a:p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endParaRPr lang="en-GB" sz="1400" dirty="0" smtClean="0">
              <a:latin typeface="Frutiger" panose="020B0500000000000000" pitchFamily="34" charset="0"/>
            </a:endParaRPr>
          </a:p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	Reduction in no of physical deliveries to hospital stores</a:t>
            </a:r>
          </a:p>
          <a:p>
            <a:r>
              <a:rPr lang="en-GB" sz="1400" dirty="0">
                <a:latin typeface="Frutiger" panose="020B0500000000000000" pitchFamily="34" charset="0"/>
              </a:rPr>
              <a:t>		</a:t>
            </a:r>
            <a:r>
              <a:rPr lang="en-GB" sz="1400" dirty="0" smtClean="0">
                <a:latin typeface="Frutiger" panose="020B0500000000000000" pitchFamily="34" charset="0"/>
              </a:rPr>
              <a:t>Locally based fleet with ability to flexibility to respond quickly to daily requirements and issues</a:t>
            </a:r>
            <a:endParaRPr lang="en-GB" sz="1400" dirty="0">
              <a:latin typeface="Frutiger" panose="020B0500000000000000" pitchFamily="34" charset="0"/>
            </a:endParaRPr>
          </a:p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endParaRPr lang="en-GB" sz="1400" dirty="0" smtClean="0">
              <a:latin typeface="Frutiger" panose="020B0500000000000000" pitchFamily="34" charset="0"/>
            </a:endParaRPr>
          </a:p>
          <a:p>
            <a:r>
              <a:rPr lang="en-GB" sz="12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Platform for collaboration 	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4830" y="260648"/>
            <a:ext cx="6834022" cy="666750"/>
          </a:xfrm>
        </p:spPr>
        <p:txBody>
          <a:bodyPr>
            <a:normAutofit fontScale="90000"/>
          </a:bodyPr>
          <a:lstStyle/>
          <a:p>
            <a:r>
              <a:rPr lang="en-GB" sz="2400" dirty="0"/>
              <a:t>Urban Consolidation - London Consolidation Centre</a:t>
            </a:r>
            <a:endParaRPr lang="en-GB" sz="2400" b="1" dirty="0">
              <a:latin typeface="Frutiger" panose="020B0500000000000000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36705" y="927398"/>
            <a:ext cx="820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00B050"/>
                </a:solidFill>
                <a:latin typeface="Frutiger" panose="020B0500000000000000" pitchFamily="34" charset="0"/>
              </a:rPr>
              <a:t>Benefits</a:t>
            </a:r>
            <a:endParaRPr lang="en-GB" sz="1600" dirty="0">
              <a:solidFill>
                <a:srgbClr val="00B050"/>
              </a:solidFill>
              <a:latin typeface="Frutiger" panose="020B0500000000000000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4509" y="2390054"/>
            <a:ext cx="4096987" cy="107671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95394" y="4859381"/>
            <a:ext cx="820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00B050"/>
                </a:solidFill>
                <a:latin typeface="Frutiger" panose="020B0500000000000000" pitchFamily="34" charset="0"/>
              </a:rPr>
              <a:t>Next Steps</a:t>
            </a:r>
            <a:endParaRPr lang="en-GB" sz="1600" dirty="0">
              <a:solidFill>
                <a:srgbClr val="00B050"/>
              </a:solidFill>
              <a:latin typeface="Frutiger" panose="020B0500000000000000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31569" y="5369437"/>
            <a:ext cx="841404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>
                <a:latin typeface="Frutiger" panose="020B0500000000000000" pitchFamily="34" charset="0"/>
              </a:rPr>
              <a:t>	</a:t>
            </a:r>
            <a:r>
              <a:rPr lang="en-GB" sz="1400" dirty="0" smtClean="0">
                <a:latin typeface="Frutiger" panose="020B0500000000000000" pitchFamily="34" charset="0"/>
              </a:rPr>
              <a:t>Evaluation of roll out of approach in UK regions – principally North West (Manchester / Liverpool) and South West (Bristol and beyond) </a:t>
            </a:r>
            <a:r>
              <a:rPr lang="en-GB" sz="1400" dirty="0">
                <a:latin typeface="Frutiger" panose="020B0500000000000000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104590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2VbsM7ZkCx_FJQIg2qq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40</TotalTime>
  <Words>567</Words>
  <Application>Microsoft Office PowerPoint</Application>
  <PresentationFormat>On-screen Show (4:3)</PresentationFormat>
  <Paragraphs>234</Paragraphs>
  <Slides>14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Office Theme</vt:lpstr>
      <vt:lpstr>1_Office Theme</vt:lpstr>
      <vt:lpstr>Transport of goods, carbon efficiency and logistics</vt:lpstr>
      <vt:lpstr>PowerPoint Presentation</vt:lpstr>
      <vt:lpstr>NHS Supply Chain</vt:lpstr>
      <vt:lpstr>UK Population Density</vt:lpstr>
      <vt:lpstr>Devolved Authorities</vt:lpstr>
      <vt:lpstr>NHS Challenges</vt:lpstr>
      <vt:lpstr>Urban Consolidation - London Consolidation Centre</vt:lpstr>
      <vt:lpstr>Urban Consolidation - London Consolidation Centre</vt:lpstr>
      <vt:lpstr>Urban Consolidation - London Consolidation Centre</vt:lpstr>
      <vt:lpstr>PowerPoint Presentation</vt:lpstr>
      <vt:lpstr>Inbound Logistics - Network</vt:lpstr>
      <vt:lpstr>Inbound Logistics – Scale and Benefits</vt:lpstr>
      <vt:lpstr>Way Forward</vt:lpstr>
      <vt:lpstr>Way Forward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e Atherton</dc:creator>
  <cp:lastModifiedBy>Dan Jones (NHS SC)</cp:lastModifiedBy>
  <cp:revision>70</cp:revision>
  <cp:lastPrinted>2017-11-10T10:04:42Z</cp:lastPrinted>
  <dcterms:created xsi:type="dcterms:W3CDTF">2013-04-29T08:31:34Z</dcterms:created>
  <dcterms:modified xsi:type="dcterms:W3CDTF">2017-11-20T22:23:05Z</dcterms:modified>
</cp:coreProperties>
</file>